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0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4" r:id="rId9"/>
    <p:sldId id="265" r:id="rId10"/>
    <p:sldId id="263" r:id="rId11"/>
    <p:sldId id="270" r:id="rId12"/>
    <p:sldId id="267" r:id="rId13"/>
    <p:sldId id="268" r:id="rId14"/>
    <p:sldId id="269" r:id="rId15"/>
    <p:sldId id="272" r:id="rId16"/>
    <p:sldId id="273" r:id="rId17"/>
    <p:sldId id="274" r:id="rId18"/>
    <p:sldId id="275" r:id="rId19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rontmatter" id="{0465A522-8675-45FC-BC58-FABBBCFE0EAD}">
          <p14:sldIdLst>
            <p14:sldId id="256"/>
            <p14:sldId id="257"/>
          </p14:sldIdLst>
        </p14:section>
        <p14:section name="Intro" id="{B0E8B00F-4DA9-4386-8715-B9C08D1CCC5B}">
          <p14:sldIdLst>
            <p14:sldId id="258"/>
            <p14:sldId id="259"/>
          </p14:sldIdLst>
        </p14:section>
        <p14:section name="VISRV and its role in the Virtual Instrument Suite" id="{7A7FD321-C1BF-4606-9EDF-B8A6BCB3323E}">
          <p14:sldIdLst>
            <p14:sldId id="260"/>
          </p14:sldIdLst>
        </p14:section>
        <p14:section name="Building Blocks" id="{AB0AA3D2-D1C3-4440-A5DB-DB18E2337366}">
          <p14:sldIdLst>
            <p14:sldId id="261"/>
            <p14:sldId id="262"/>
            <p14:sldId id="264"/>
            <p14:sldId id="265"/>
            <p14:sldId id="263"/>
            <p14:sldId id="270"/>
            <p14:sldId id="267"/>
            <p14:sldId id="268"/>
            <p14:sldId id="269"/>
            <p14:sldId id="272"/>
            <p14:sldId id="273"/>
          </p14:sldIdLst>
        </p14:section>
        <p14:section name="Short-comings and plans" id="{4B3E2CC1-4934-4D8D-8ABF-793BD2AF04CF}">
          <p14:sldIdLst>
            <p14:sldId id="274"/>
          </p14:sldIdLst>
        </p14:section>
        <p14:section name="Outro" id="{B626AD56-A210-428F-A864-854701650606}">
          <p14:sldIdLst>
            <p14:sldId id="275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EA09E"/>
    <a:srgbClr val="ADA9A6"/>
    <a:srgbClr val="A79F99"/>
    <a:srgbClr val="00A6A2"/>
    <a:srgbClr val="B5C026"/>
    <a:srgbClr val="BBC71F"/>
    <a:srgbClr val="A4AE28"/>
    <a:srgbClr val="009A96"/>
    <a:srgbClr val="00B4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83" d="100"/>
          <a:sy n="83" d="100"/>
        </p:scale>
        <p:origin x="101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0BD2A1-7DF2-4081-BE70-EEB59F117925}" type="datetimeFigureOut">
              <a:rPr lang="de-DE" smtClean="0"/>
              <a:t>23.05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F3411DE-4994-4B9C-9856-C0D9111554F8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400008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5019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5250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9629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1424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7527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997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2293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4816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5444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9232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1919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67083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95630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494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4800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30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4564800" y="1648853"/>
            <a:ext cx="30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14"/>
          </p:nvPr>
        </p:nvSpPr>
        <p:spPr>
          <a:xfrm>
            <a:off x="8184263" y="1648853"/>
            <a:ext cx="30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510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70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2478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7895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01159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600000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234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3600000" y="1648853"/>
            <a:ext cx="234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13"/>
          </p:nvPr>
        </p:nvSpPr>
        <p:spPr>
          <a:xfrm>
            <a:off x="6253200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14"/>
          </p:nvPr>
        </p:nvSpPr>
        <p:spPr>
          <a:xfrm>
            <a:off x="6253200" y="1648853"/>
            <a:ext cx="234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3"/>
          <p:cNvSpPr>
            <a:spLocks noGrp="1"/>
          </p:cNvSpPr>
          <p:nvPr>
            <p:ph sz="half" idx="15"/>
          </p:nvPr>
        </p:nvSpPr>
        <p:spPr>
          <a:xfrm>
            <a:off x="8905461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3"/>
          <p:cNvSpPr>
            <a:spLocks noGrp="1"/>
          </p:cNvSpPr>
          <p:nvPr>
            <p:ph sz="half" idx="16"/>
          </p:nvPr>
        </p:nvSpPr>
        <p:spPr>
          <a:xfrm>
            <a:off x="8905461" y="1648853"/>
            <a:ext cx="234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1307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73116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162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49780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9889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8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4818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7733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91041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9129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03911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8969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7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2750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085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0667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6829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61598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21671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419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8369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4703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094161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65519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094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über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1216024" y="1835008"/>
            <a:ext cx="9747249" cy="4467368"/>
          </a:xfrm>
          <a:solidFill>
            <a:schemeClr val="bg1"/>
          </a:solidFill>
        </p:spPr>
        <p:txBody>
          <a:bodyPr lIns="108000" tIns="108000"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512049" y="4067176"/>
            <a:ext cx="3451225" cy="2235200"/>
          </a:xfrm>
          <a:solidFill>
            <a:srgbClr val="29485D"/>
          </a:solidFill>
        </p:spPr>
        <p:txBody>
          <a:bodyPr vert="horz" wrap="square" lIns="198000" tIns="158400" rIns="108000" bIns="108000" rtlCol="0" anchor="t" anchorCtr="0">
            <a:noAutofit/>
          </a:bodyPr>
          <a:lstStyle>
            <a:lvl1pPr>
              <a:defRPr lang="de-DE" sz="2300" cap="all" spc="14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</a:pPr>
            <a:r>
              <a:rPr lang="en-US" dirty="0" smtClean="0"/>
              <a:t>Click icon to add picture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89326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067081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Folie" r:id="rId34" imgW="384" imgH="385" progId="TCLayout.ActiveDocument.1">
                  <p:embed/>
                </p:oleObj>
              </mc:Choice>
              <mc:Fallback>
                <p:oleObj name="think-cell Folie" r:id="rId34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</a:t>
            </a:r>
            <a:endParaRPr lang="de-DE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16AC5-77F1-4564-BB0F-A7B9ADB68784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smtClean="0"/>
              <a:t>|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5987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ll.mpg.de/" TargetMode="External"/><Relationship Id="rId2" Type="http://schemas.openxmlformats.org/officeDocument/2006/relationships/hyperlink" Target="mailto:hensel@hll.mpg.de" TargetMode="Externa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The Virtual Instrument Server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A look behind the scen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8604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Defines the specific device communication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Translates changes in server data to commands sent to the devic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Translates answers received from the device to changes in server data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Output and input are formatted without knowledge of the specific kind of interface used.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unterpart to the logic that translates byte sequences to register actions in an I²C chip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mmand interpreter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Device Interfac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0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32" name="Group 31"/>
          <p:cNvGrpSpPr/>
          <p:nvPr/>
        </p:nvGrpSpPr>
        <p:grpSpPr>
          <a:xfrm>
            <a:off x="6394099" y="1648853"/>
            <a:ext cx="3027311" cy="3459490"/>
            <a:chOff x="6677254" y="1648854"/>
            <a:chExt cx="3563061" cy="4752000"/>
          </a:xfrm>
        </p:grpSpPr>
        <p:sp>
          <p:nvSpPr>
            <p:cNvPr id="47" name="Rectangle 46"/>
            <p:cNvSpPr/>
            <p:nvPr/>
          </p:nvSpPr>
          <p:spPr>
            <a:xfrm>
              <a:off x="6784315" y="1648854"/>
              <a:ext cx="3456000" cy="46522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677254" y="1758910"/>
              <a:ext cx="3456000" cy="4641944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luster(s)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475903" y="2025718"/>
            <a:ext cx="1559935" cy="3011767"/>
            <a:chOff x="3395068" y="35855"/>
            <a:chExt cx="1836000" cy="4137002"/>
          </a:xfrm>
        </p:grpSpPr>
        <p:grpSp>
          <p:nvGrpSpPr>
            <p:cNvPr id="40" name="Group 39"/>
            <p:cNvGrpSpPr/>
            <p:nvPr/>
          </p:nvGrpSpPr>
          <p:grpSpPr>
            <a:xfrm>
              <a:off x="3395068" y="35855"/>
              <a:ext cx="1836000" cy="4137002"/>
              <a:chOff x="1072578" y="2055523"/>
              <a:chExt cx="2412222" cy="4248000"/>
            </a:xfrm>
          </p:grpSpPr>
          <p:sp>
            <p:nvSpPr>
              <p:cNvPr id="45" name="Rectangle 44"/>
              <p:cNvSpPr/>
              <p:nvPr/>
            </p:nvSpPr>
            <p:spPr>
              <a:xfrm>
                <a:off x="1180800" y="2055523"/>
                <a:ext cx="2304000" cy="4140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1072578" y="2163523"/>
                <a:ext cx="2304000" cy="4140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Device(s)</a:t>
                </a: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3485909" y="571516"/>
              <a:ext cx="1554904" cy="1887841"/>
              <a:chOff x="3485909" y="571516"/>
              <a:chExt cx="1554904" cy="1887841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3573578" y="571516"/>
                <a:ext cx="1467235" cy="1764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3485909" y="695357"/>
                <a:ext cx="1448862" cy="1764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hannel(s)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Requested V.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Actual Valu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caling?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Unit?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Enable?</a:t>
                </a:r>
              </a:p>
            </p:txBody>
          </p:sp>
        </p:grpSp>
        <p:sp>
          <p:nvSpPr>
            <p:cNvPr id="42" name="Rectangle 41"/>
            <p:cNvSpPr/>
            <p:nvPr/>
          </p:nvSpPr>
          <p:spPr>
            <a:xfrm>
              <a:off x="3485908" y="3401679"/>
              <a:ext cx="1554905" cy="666000"/>
            </a:xfrm>
            <a:prstGeom prst="rect">
              <a:avLst/>
            </a:prstGeom>
            <a:gradFill>
              <a:gsLst>
                <a:gs pos="0">
                  <a:schemeClr val="tx2">
                    <a:lumMod val="75000"/>
                    <a:lumOff val="25000"/>
                  </a:schemeClr>
                </a:gs>
                <a:gs pos="50000">
                  <a:srgbClr val="00B4B0"/>
                </a:gs>
                <a:gs pos="100000">
                  <a:srgbClr val="00A6A2"/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Device Interface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384263" y="5204498"/>
            <a:ext cx="1655664" cy="1203502"/>
            <a:chOff x="3282397" y="4402268"/>
            <a:chExt cx="1948671" cy="1653146"/>
          </a:xfrm>
        </p:grpSpPr>
        <p:grpSp>
          <p:nvGrpSpPr>
            <p:cNvPr id="28" name="Group 27"/>
            <p:cNvGrpSpPr/>
            <p:nvPr/>
          </p:nvGrpSpPr>
          <p:grpSpPr>
            <a:xfrm>
              <a:off x="3282397" y="4402268"/>
              <a:ext cx="1948671" cy="1653146"/>
              <a:chOff x="3395068" y="4412318"/>
              <a:chExt cx="1960872" cy="1653146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524588" y="4412318"/>
                <a:ext cx="1831352" cy="15444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395068" y="4522373"/>
                <a:ext cx="1831352" cy="1543091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Master Interface(s)</a:t>
                </a: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3414922" y="5257940"/>
              <a:ext cx="1554905" cy="665394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tx2">
                    <a:lumMod val="25000"/>
                    <a:lumOff val="75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ommunication Thread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22676" y="2025718"/>
            <a:ext cx="1103689" cy="1453459"/>
            <a:chOff x="8126765" y="2025718"/>
            <a:chExt cx="1103689" cy="1453459"/>
          </a:xfrm>
        </p:grpSpPr>
        <p:sp>
          <p:nvSpPr>
            <p:cNvPr id="50" name="Rectangle 49"/>
            <p:cNvSpPr/>
            <p:nvPr/>
          </p:nvSpPr>
          <p:spPr>
            <a:xfrm>
              <a:off x="8126765" y="2025718"/>
              <a:ext cx="1103689" cy="14534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Initialization Procedur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219279" y="2424832"/>
              <a:ext cx="917750" cy="964261"/>
              <a:chOff x="8219279" y="2424832"/>
              <a:chExt cx="917750" cy="964261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8308045" y="2424832"/>
                <a:ext cx="828984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8219279" y="2507093"/>
                <a:ext cx="839778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Poll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alibrat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e..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97074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5018952" cy="4759147"/>
          </a:xfrm>
        </p:spPr>
        <p:txBody>
          <a:bodyPr/>
          <a:lstStyle/>
          <a:p>
            <a:r>
              <a:rPr lang="de-DE" dirty="0" smtClean="0"/>
              <a:t>Set of commands that are needed to update the state of a cluster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ntains the order of actions needed to update the data on the server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an be as detailed or broad and as complete or specific as needed.</a:t>
            </a:r>
          </a:p>
          <a:p>
            <a:endParaRPr lang="de-DE" dirty="0"/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The list of channels that have to be read out for a complete update and the order in which to read them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subset of channels to update for a specific test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Housekeeping cycl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1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32" name="Group 31"/>
          <p:cNvGrpSpPr/>
          <p:nvPr/>
        </p:nvGrpSpPr>
        <p:grpSpPr>
          <a:xfrm>
            <a:off x="6394099" y="1648853"/>
            <a:ext cx="3027311" cy="3459490"/>
            <a:chOff x="6677254" y="1648854"/>
            <a:chExt cx="3563061" cy="4752000"/>
          </a:xfrm>
        </p:grpSpPr>
        <p:sp>
          <p:nvSpPr>
            <p:cNvPr id="47" name="Rectangle 46"/>
            <p:cNvSpPr/>
            <p:nvPr/>
          </p:nvSpPr>
          <p:spPr>
            <a:xfrm>
              <a:off x="6784315" y="1648854"/>
              <a:ext cx="3456000" cy="46522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677254" y="1758910"/>
              <a:ext cx="3456000" cy="4641944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luster(s)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6475903" y="2025718"/>
            <a:ext cx="1559935" cy="3011767"/>
            <a:chOff x="3395068" y="35855"/>
            <a:chExt cx="1836000" cy="4137002"/>
          </a:xfrm>
        </p:grpSpPr>
        <p:grpSp>
          <p:nvGrpSpPr>
            <p:cNvPr id="40" name="Group 39"/>
            <p:cNvGrpSpPr/>
            <p:nvPr/>
          </p:nvGrpSpPr>
          <p:grpSpPr>
            <a:xfrm>
              <a:off x="3395068" y="35855"/>
              <a:ext cx="1836000" cy="4137002"/>
              <a:chOff x="1072578" y="2055523"/>
              <a:chExt cx="2412222" cy="4248000"/>
            </a:xfrm>
          </p:grpSpPr>
          <p:sp>
            <p:nvSpPr>
              <p:cNvPr id="45" name="Rectangle 44"/>
              <p:cNvSpPr/>
              <p:nvPr/>
            </p:nvSpPr>
            <p:spPr>
              <a:xfrm>
                <a:off x="1180800" y="2055523"/>
                <a:ext cx="2304000" cy="4140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6" name="Rectangle 45"/>
              <p:cNvSpPr/>
              <p:nvPr/>
            </p:nvSpPr>
            <p:spPr>
              <a:xfrm>
                <a:off x="1072578" y="2163523"/>
                <a:ext cx="2304000" cy="4140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Device(s)</a:t>
                </a:r>
              </a:p>
            </p:txBody>
          </p:sp>
        </p:grpSp>
        <p:grpSp>
          <p:nvGrpSpPr>
            <p:cNvPr id="41" name="Group 40"/>
            <p:cNvGrpSpPr/>
            <p:nvPr/>
          </p:nvGrpSpPr>
          <p:grpSpPr>
            <a:xfrm>
              <a:off x="3485909" y="571516"/>
              <a:ext cx="1554904" cy="1887841"/>
              <a:chOff x="3485909" y="571516"/>
              <a:chExt cx="1554904" cy="1887841"/>
            </a:xfrm>
          </p:grpSpPr>
          <p:sp>
            <p:nvSpPr>
              <p:cNvPr id="43" name="Rectangle 42"/>
              <p:cNvSpPr/>
              <p:nvPr/>
            </p:nvSpPr>
            <p:spPr>
              <a:xfrm>
                <a:off x="3573578" y="571516"/>
                <a:ext cx="1467235" cy="1764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3485909" y="695357"/>
                <a:ext cx="1448862" cy="17640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hannel(s)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Requested V.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Actual Valu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caling?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Unit?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Enable?</a:t>
                </a:r>
              </a:p>
            </p:txBody>
          </p:sp>
        </p:grpSp>
        <p:sp>
          <p:nvSpPr>
            <p:cNvPr id="42" name="Rectangle 41"/>
            <p:cNvSpPr/>
            <p:nvPr/>
          </p:nvSpPr>
          <p:spPr>
            <a:xfrm>
              <a:off x="3485908" y="3401679"/>
              <a:ext cx="1554905" cy="666000"/>
            </a:xfrm>
            <a:prstGeom prst="rect">
              <a:avLst/>
            </a:prstGeom>
            <a:gradFill>
              <a:gsLst>
                <a:gs pos="0">
                  <a:schemeClr val="tx2">
                    <a:lumMod val="75000"/>
                    <a:lumOff val="25000"/>
                  </a:schemeClr>
                </a:gs>
                <a:gs pos="50000">
                  <a:srgbClr val="00B4B0"/>
                </a:gs>
                <a:gs pos="100000">
                  <a:srgbClr val="00A6A2"/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Device Interface</a:t>
              </a:r>
            </a:p>
          </p:txBody>
        </p:sp>
      </p:grpSp>
      <p:grpSp>
        <p:nvGrpSpPr>
          <p:cNvPr id="35" name="Group 34"/>
          <p:cNvGrpSpPr/>
          <p:nvPr/>
        </p:nvGrpSpPr>
        <p:grpSpPr>
          <a:xfrm>
            <a:off x="8122676" y="2025718"/>
            <a:ext cx="1103689" cy="1453459"/>
            <a:chOff x="8126765" y="2025718"/>
            <a:chExt cx="1103689" cy="1453459"/>
          </a:xfrm>
        </p:grpSpPr>
        <p:sp>
          <p:nvSpPr>
            <p:cNvPr id="36" name="Rectangle 35"/>
            <p:cNvSpPr/>
            <p:nvPr/>
          </p:nvSpPr>
          <p:spPr>
            <a:xfrm>
              <a:off x="8126765" y="2025718"/>
              <a:ext cx="1103689" cy="14534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Initialization Procedure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8219279" y="2424832"/>
              <a:ext cx="917750" cy="964261"/>
              <a:chOff x="8219279" y="2424832"/>
              <a:chExt cx="917750" cy="964261"/>
            </a:xfrm>
          </p:grpSpPr>
          <p:sp>
            <p:nvSpPr>
              <p:cNvPr id="38" name="Rectangle 37"/>
              <p:cNvSpPr/>
              <p:nvPr/>
            </p:nvSpPr>
            <p:spPr>
              <a:xfrm>
                <a:off x="8308045" y="2424832"/>
                <a:ext cx="828984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9" name="Rectangle 38"/>
              <p:cNvSpPr/>
              <p:nvPr/>
            </p:nvSpPr>
            <p:spPr>
              <a:xfrm>
                <a:off x="8219279" y="2507093"/>
                <a:ext cx="839778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Poll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alibrat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e...</a:t>
                </a:r>
              </a:p>
            </p:txBody>
          </p:sp>
        </p:grpSp>
      </p:grpSp>
      <p:grpSp>
        <p:nvGrpSpPr>
          <p:cNvPr id="10" name="Group 9"/>
          <p:cNvGrpSpPr/>
          <p:nvPr/>
        </p:nvGrpSpPr>
        <p:grpSpPr>
          <a:xfrm>
            <a:off x="6384263" y="5204498"/>
            <a:ext cx="1655664" cy="1203502"/>
            <a:chOff x="3282397" y="4402268"/>
            <a:chExt cx="1948671" cy="1653146"/>
          </a:xfrm>
        </p:grpSpPr>
        <p:grpSp>
          <p:nvGrpSpPr>
            <p:cNvPr id="28" name="Group 27"/>
            <p:cNvGrpSpPr/>
            <p:nvPr/>
          </p:nvGrpSpPr>
          <p:grpSpPr>
            <a:xfrm>
              <a:off x="3282397" y="4402268"/>
              <a:ext cx="1948671" cy="1653146"/>
              <a:chOff x="3395068" y="4412318"/>
              <a:chExt cx="1960872" cy="1653146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524588" y="4412318"/>
                <a:ext cx="1831352" cy="15444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395068" y="4522373"/>
                <a:ext cx="1831352" cy="1543091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Master Interface(s)</a:t>
                </a: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3414922" y="5257940"/>
              <a:ext cx="1554905" cy="665394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tx2">
                    <a:lumMod val="25000"/>
                    <a:lumOff val="75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ommunication Thread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126765" y="5204498"/>
            <a:ext cx="1294645" cy="1203503"/>
            <a:chOff x="5333274" y="4402268"/>
            <a:chExt cx="1523761" cy="1653147"/>
          </a:xfrm>
        </p:grpSpPr>
        <p:sp>
          <p:nvSpPr>
            <p:cNvPr id="26" name="Rectangle 25"/>
            <p:cNvSpPr/>
            <p:nvPr/>
          </p:nvSpPr>
          <p:spPr>
            <a:xfrm>
              <a:off x="5462794" y="4402268"/>
              <a:ext cx="1394241" cy="15215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333274" y="4535145"/>
              <a:ext cx="1394241" cy="152027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Housekeeping Cycle(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3502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5018952" cy="4759147"/>
          </a:xfrm>
        </p:spPr>
        <p:txBody>
          <a:bodyPr/>
          <a:lstStyle/>
          <a:p>
            <a:r>
              <a:rPr lang="de-DE" dirty="0" smtClean="0"/>
              <a:t>Scheduler decides the next housekeeping cycle and the timing before it is called:</a:t>
            </a:r>
          </a:p>
          <a:p>
            <a:pPr lvl="1"/>
            <a:r>
              <a:rPr lang="de-DE" dirty="0" smtClean="0"/>
              <a:t>Used to plan complex housekeeping activities, e.g.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Update some channels only every 5 seconds because there are more important tasks to do. 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Perform complete update after initialization, then switch to a more focused housekeeping cycl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endParaRPr lang="de-DE" dirty="0"/>
          </a:p>
          <a:p>
            <a:r>
              <a:rPr lang="de-DE" dirty="0" smtClean="0"/>
              <a:t>Blocker stops the execution of a housekeeping cycle until all blocking conditions are resolved:</a:t>
            </a:r>
          </a:p>
          <a:p>
            <a:pPr lvl="1"/>
            <a:r>
              <a:rPr lang="de-DE" dirty="0" smtClean="0"/>
              <a:t>Used to prevent clusters that share e.g. a multiplexer for their interface from fighting over the multiplexer‘s state during their parallel update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Scheduler &amp; Blocker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2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9" name="Group 8"/>
          <p:cNvGrpSpPr/>
          <p:nvPr/>
        </p:nvGrpSpPr>
        <p:grpSpPr>
          <a:xfrm>
            <a:off x="6394099" y="1648853"/>
            <a:ext cx="3027311" cy="3459490"/>
            <a:chOff x="6394099" y="1648853"/>
            <a:chExt cx="3027311" cy="3459490"/>
          </a:xfrm>
        </p:grpSpPr>
        <p:grpSp>
          <p:nvGrpSpPr>
            <p:cNvPr id="32" name="Group 31"/>
            <p:cNvGrpSpPr/>
            <p:nvPr/>
          </p:nvGrpSpPr>
          <p:grpSpPr>
            <a:xfrm>
              <a:off x="6394099" y="1648853"/>
              <a:ext cx="3027311" cy="3459490"/>
              <a:chOff x="6677254" y="1648854"/>
              <a:chExt cx="3563061" cy="4752000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6784315" y="1648854"/>
                <a:ext cx="3456000" cy="4652236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6677254" y="1758910"/>
                <a:ext cx="3456000" cy="4641944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luster(s)</a:t>
                </a: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6475903" y="2025718"/>
              <a:ext cx="1559935" cy="3011767"/>
              <a:chOff x="3395068" y="35855"/>
              <a:chExt cx="1836000" cy="4137002"/>
            </a:xfrm>
          </p:grpSpPr>
          <p:grpSp>
            <p:nvGrpSpPr>
              <p:cNvPr id="40" name="Group 39"/>
              <p:cNvGrpSpPr/>
              <p:nvPr/>
            </p:nvGrpSpPr>
            <p:grpSpPr>
              <a:xfrm>
                <a:off x="3395068" y="35855"/>
                <a:ext cx="1836000" cy="4137002"/>
                <a:chOff x="1072578" y="2055523"/>
                <a:chExt cx="2412222" cy="4248000"/>
              </a:xfrm>
            </p:grpSpPr>
            <p:sp>
              <p:nvSpPr>
                <p:cNvPr id="45" name="Rectangle 44"/>
                <p:cNvSpPr/>
                <p:nvPr/>
              </p:nvSpPr>
              <p:spPr>
                <a:xfrm>
                  <a:off x="1180800" y="2055523"/>
                  <a:ext cx="2304000" cy="4140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 smtClea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6" name="Rectangle 45"/>
                <p:cNvSpPr/>
                <p:nvPr/>
              </p:nvSpPr>
              <p:spPr>
                <a:xfrm>
                  <a:off x="1072578" y="2163523"/>
                  <a:ext cx="2304000" cy="4140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Device(s)</a:t>
                  </a:r>
                </a:p>
              </p:txBody>
            </p:sp>
          </p:grpSp>
          <p:grpSp>
            <p:nvGrpSpPr>
              <p:cNvPr id="41" name="Group 40"/>
              <p:cNvGrpSpPr/>
              <p:nvPr/>
            </p:nvGrpSpPr>
            <p:grpSpPr>
              <a:xfrm>
                <a:off x="3485909" y="571516"/>
                <a:ext cx="1554904" cy="1887841"/>
                <a:chOff x="3485909" y="571516"/>
                <a:chExt cx="1554904" cy="1887841"/>
              </a:xfrm>
            </p:grpSpPr>
            <p:sp>
              <p:nvSpPr>
                <p:cNvPr id="43" name="Rectangle 42"/>
                <p:cNvSpPr/>
                <p:nvPr/>
              </p:nvSpPr>
              <p:spPr>
                <a:xfrm>
                  <a:off x="3573578" y="571516"/>
                  <a:ext cx="1467235" cy="1764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4"/>
                </a:lnRef>
                <a:fillRef idx="3">
                  <a:schemeClr val="accent4"/>
                </a:fillRef>
                <a:effectRef idx="3">
                  <a:schemeClr val="accent4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 smtClea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4" name="Rectangle 43"/>
                <p:cNvSpPr/>
                <p:nvPr/>
              </p:nvSpPr>
              <p:spPr>
                <a:xfrm>
                  <a:off x="3485909" y="695357"/>
                  <a:ext cx="1448862" cy="1764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4"/>
                </a:lnRef>
                <a:fillRef idx="3">
                  <a:schemeClr val="accent4"/>
                </a:fillRef>
                <a:effectRef idx="3">
                  <a:schemeClr val="accent4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Channel(s):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Requested V.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Actual Value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Scaling?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Unit?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Enable?</a:t>
                  </a:r>
                </a:p>
              </p:txBody>
            </p:sp>
          </p:grpSp>
          <p:sp>
            <p:nvSpPr>
              <p:cNvPr id="42" name="Rectangle 41"/>
              <p:cNvSpPr/>
              <p:nvPr/>
            </p:nvSpPr>
            <p:spPr>
              <a:xfrm>
                <a:off x="3485908" y="3401679"/>
                <a:ext cx="1554905" cy="6660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Device Interface</a:t>
                </a:r>
              </a:p>
            </p:txBody>
          </p:sp>
        </p:grpSp>
        <p:sp>
          <p:nvSpPr>
            <p:cNvPr id="34" name="Rectangle 33"/>
            <p:cNvSpPr/>
            <p:nvPr/>
          </p:nvSpPr>
          <p:spPr>
            <a:xfrm>
              <a:off x="8122676" y="3582649"/>
              <a:ext cx="1103689" cy="14548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Housekeeping Sheduler</a:t>
              </a: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8122676" y="2025718"/>
              <a:ext cx="1103689" cy="1453459"/>
              <a:chOff x="8126765" y="2025718"/>
              <a:chExt cx="1103689" cy="1453459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8126765" y="2025718"/>
                <a:ext cx="1103689" cy="1453459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ation Procedure</a:t>
                </a: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>
                <a:off x="8219279" y="2424832"/>
                <a:ext cx="917750" cy="964261"/>
                <a:chOff x="8219279" y="2424832"/>
                <a:chExt cx="917750" cy="964261"/>
              </a:xfrm>
            </p:grpSpPr>
            <p:sp>
              <p:nvSpPr>
                <p:cNvPr id="38" name="Rectangle 37"/>
                <p:cNvSpPr/>
                <p:nvPr/>
              </p:nvSpPr>
              <p:spPr>
                <a:xfrm>
                  <a:off x="8308045" y="2424832"/>
                  <a:ext cx="828984" cy="882000"/>
                </a:xfrm>
                <a:prstGeom prst="rect">
                  <a:avLst/>
                </a:prstGeom>
                <a:gradFill>
                  <a:gsLst>
                    <a:gs pos="0">
                      <a:srgbClr val="B5C026"/>
                    </a:gs>
                    <a:gs pos="50000">
                      <a:srgbClr val="BBC71F"/>
                    </a:gs>
                    <a:gs pos="100000">
                      <a:srgbClr val="A4AE28"/>
                    </a:gs>
                  </a:gsLst>
                </a:gradFill>
                <a:ln>
                  <a:tailEnd type="triangle" w="lg" len="med"/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9" name="Rectangle 38"/>
                <p:cNvSpPr/>
                <p:nvPr/>
              </p:nvSpPr>
              <p:spPr>
                <a:xfrm>
                  <a:off x="8219279" y="2507093"/>
                  <a:ext cx="839778" cy="882000"/>
                </a:xfrm>
                <a:prstGeom prst="rect">
                  <a:avLst/>
                </a:prstGeom>
                <a:gradFill>
                  <a:gsLst>
                    <a:gs pos="0">
                      <a:srgbClr val="B5C026"/>
                    </a:gs>
                    <a:gs pos="50000">
                      <a:srgbClr val="BBC71F"/>
                    </a:gs>
                    <a:gs pos="100000">
                      <a:srgbClr val="A4AE28"/>
                    </a:gs>
                  </a:gsLst>
                </a:gradFill>
                <a:ln>
                  <a:tailEnd type="triangle" w="lg" len="med"/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Steps: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Poll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Calibrate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Initialize...</a:t>
                  </a:r>
                </a:p>
              </p:txBody>
            </p:sp>
          </p:grpSp>
        </p:grpSp>
      </p:grpSp>
      <p:grpSp>
        <p:nvGrpSpPr>
          <p:cNvPr id="10" name="Group 9"/>
          <p:cNvGrpSpPr/>
          <p:nvPr/>
        </p:nvGrpSpPr>
        <p:grpSpPr>
          <a:xfrm>
            <a:off x="6384263" y="5204498"/>
            <a:ext cx="1655664" cy="1203502"/>
            <a:chOff x="3282397" y="4402268"/>
            <a:chExt cx="1948671" cy="1653146"/>
          </a:xfrm>
        </p:grpSpPr>
        <p:grpSp>
          <p:nvGrpSpPr>
            <p:cNvPr id="28" name="Group 27"/>
            <p:cNvGrpSpPr/>
            <p:nvPr/>
          </p:nvGrpSpPr>
          <p:grpSpPr>
            <a:xfrm>
              <a:off x="3282397" y="4402268"/>
              <a:ext cx="1948671" cy="1653146"/>
              <a:chOff x="3395068" y="4412318"/>
              <a:chExt cx="1960872" cy="1653146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524588" y="4412318"/>
                <a:ext cx="1831352" cy="15444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395068" y="4522373"/>
                <a:ext cx="1831352" cy="1543091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Master Interface(s)</a:t>
                </a: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3414922" y="5257940"/>
              <a:ext cx="1554905" cy="665394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tx2">
                    <a:lumMod val="25000"/>
                    <a:lumOff val="75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ommunication Thread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126765" y="5204498"/>
            <a:ext cx="1294645" cy="1203503"/>
            <a:chOff x="5333274" y="4402268"/>
            <a:chExt cx="1523761" cy="1653147"/>
          </a:xfrm>
        </p:grpSpPr>
        <p:sp>
          <p:nvSpPr>
            <p:cNvPr id="26" name="Rectangle 25"/>
            <p:cNvSpPr/>
            <p:nvPr/>
          </p:nvSpPr>
          <p:spPr>
            <a:xfrm>
              <a:off x="5462794" y="4402268"/>
              <a:ext cx="1394241" cy="15215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333274" y="4535145"/>
              <a:ext cx="1394241" cy="152027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Housekeeping Cycle(s)</a:t>
              </a:r>
            </a:p>
          </p:txBody>
        </p:sp>
      </p:grpSp>
      <p:sp>
        <p:nvSpPr>
          <p:cNvPr id="52" name="Rectangle 51"/>
          <p:cNvSpPr/>
          <p:nvPr/>
        </p:nvSpPr>
        <p:spPr>
          <a:xfrm>
            <a:off x="9688277" y="5204498"/>
            <a:ext cx="1184600" cy="1107706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</a:gradFill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endParaRPr lang="de-DE" sz="1100" b="1" dirty="0" smtClean="0">
              <a:solidFill>
                <a:sysClr val="windowText" lastClr="000000"/>
              </a:solidFill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9578232" y="5301233"/>
            <a:ext cx="1184600" cy="1106768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</a:gradFill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r>
              <a:rPr lang="de-DE" sz="1100" b="1" dirty="0" smtClean="0">
                <a:solidFill>
                  <a:sysClr val="windowText" lastClr="000000"/>
                </a:solidFill>
              </a:rPr>
              <a:t>Housekeeping Blocker(s)</a:t>
            </a:r>
          </a:p>
        </p:txBody>
      </p:sp>
      <p:sp>
        <p:nvSpPr>
          <p:cNvPr id="54" name="Rectangle 53"/>
          <p:cNvSpPr/>
          <p:nvPr/>
        </p:nvSpPr>
        <p:spPr>
          <a:xfrm>
            <a:off x="8215190" y="4443903"/>
            <a:ext cx="917750" cy="484412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5"/>
              </a:gs>
            </a:gsLst>
          </a:gradFill>
          <a:ln>
            <a:tailEnd type="triangle" w="lg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r>
              <a:rPr lang="de-DE" sz="1100" b="1" dirty="0" smtClean="0">
                <a:solidFill>
                  <a:sysClr val="windowText" lastClr="000000"/>
                </a:solidFill>
              </a:rPr>
              <a:t>Housekeep Thread</a:t>
            </a:r>
          </a:p>
        </p:txBody>
      </p:sp>
    </p:spTree>
    <p:extLst>
      <p:ext uri="{BB962C8B-B14F-4D97-AF65-F5344CB8AC3E}">
        <p14:creationId xmlns:p14="http://schemas.microsoft.com/office/powerpoint/2010/main" val="1560020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5018952" cy="4759147"/>
          </a:xfrm>
        </p:spPr>
        <p:txBody>
          <a:bodyPr/>
          <a:lstStyle/>
          <a:p>
            <a:r>
              <a:rPr lang="de-DE" dirty="0" smtClean="0"/>
              <a:t>Define sets of instructions that can be triggered on demand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state machine where sequences represent transitions from one state to another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Steps can perform a multitude of tasks such as simple checks, changes, ramps, lists of changes.</a:t>
            </a:r>
          </a:p>
          <a:p>
            <a:endParaRPr lang="de-DE" dirty="0" smtClean="0"/>
          </a:p>
          <a:p>
            <a:endParaRPr lang="de-DE" dirty="0"/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list of changes required to bring the whole system from OFF to STANDBY stat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software emergency shutdown sequenc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Sequence &amp; Step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3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9" name="Group 8"/>
          <p:cNvGrpSpPr/>
          <p:nvPr/>
        </p:nvGrpSpPr>
        <p:grpSpPr>
          <a:xfrm>
            <a:off x="6394099" y="1648853"/>
            <a:ext cx="3027311" cy="3459490"/>
            <a:chOff x="6394099" y="1648853"/>
            <a:chExt cx="3027311" cy="3459490"/>
          </a:xfrm>
        </p:grpSpPr>
        <p:grpSp>
          <p:nvGrpSpPr>
            <p:cNvPr id="32" name="Group 31"/>
            <p:cNvGrpSpPr/>
            <p:nvPr/>
          </p:nvGrpSpPr>
          <p:grpSpPr>
            <a:xfrm>
              <a:off x="6394099" y="1648853"/>
              <a:ext cx="3027311" cy="3459490"/>
              <a:chOff x="6677254" y="1648854"/>
              <a:chExt cx="3563061" cy="4752000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6784315" y="1648854"/>
                <a:ext cx="3456000" cy="4652236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6677254" y="1758910"/>
                <a:ext cx="3456000" cy="4641944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luster(s)</a:t>
                </a: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6475903" y="2025718"/>
              <a:ext cx="1559935" cy="3011767"/>
              <a:chOff x="3395068" y="35855"/>
              <a:chExt cx="1836000" cy="4137002"/>
            </a:xfrm>
          </p:grpSpPr>
          <p:grpSp>
            <p:nvGrpSpPr>
              <p:cNvPr id="40" name="Group 39"/>
              <p:cNvGrpSpPr/>
              <p:nvPr/>
            </p:nvGrpSpPr>
            <p:grpSpPr>
              <a:xfrm>
                <a:off x="3395068" y="35855"/>
                <a:ext cx="1836000" cy="4137002"/>
                <a:chOff x="1072578" y="2055523"/>
                <a:chExt cx="2412222" cy="4248000"/>
              </a:xfrm>
            </p:grpSpPr>
            <p:sp>
              <p:nvSpPr>
                <p:cNvPr id="45" name="Rectangle 44"/>
                <p:cNvSpPr/>
                <p:nvPr/>
              </p:nvSpPr>
              <p:spPr>
                <a:xfrm>
                  <a:off x="1180800" y="2055523"/>
                  <a:ext cx="2304000" cy="4140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 smtClea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6" name="Rectangle 45"/>
                <p:cNvSpPr/>
                <p:nvPr/>
              </p:nvSpPr>
              <p:spPr>
                <a:xfrm>
                  <a:off x="1072578" y="2163523"/>
                  <a:ext cx="2304000" cy="4140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Device(s)</a:t>
                  </a:r>
                </a:p>
              </p:txBody>
            </p:sp>
          </p:grpSp>
          <p:grpSp>
            <p:nvGrpSpPr>
              <p:cNvPr id="41" name="Group 40"/>
              <p:cNvGrpSpPr/>
              <p:nvPr/>
            </p:nvGrpSpPr>
            <p:grpSpPr>
              <a:xfrm>
                <a:off x="3485909" y="571516"/>
                <a:ext cx="1554904" cy="1887841"/>
                <a:chOff x="3485909" y="571516"/>
                <a:chExt cx="1554904" cy="1887841"/>
              </a:xfrm>
            </p:grpSpPr>
            <p:sp>
              <p:nvSpPr>
                <p:cNvPr id="43" name="Rectangle 42"/>
                <p:cNvSpPr/>
                <p:nvPr/>
              </p:nvSpPr>
              <p:spPr>
                <a:xfrm>
                  <a:off x="3573578" y="571516"/>
                  <a:ext cx="1467235" cy="1764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4"/>
                </a:lnRef>
                <a:fillRef idx="3">
                  <a:schemeClr val="accent4"/>
                </a:fillRef>
                <a:effectRef idx="3">
                  <a:schemeClr val="accent4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 smtClea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4" name="Rectangle 43"/>
                <p:cNvSpPr/>
                <p:nvPr/>
              </p:nvSpPr>
              <p:spPr>
                <a:xfrm>
                  <a:off x="3485909" y="695357"/>
                  <a:ext cx="1448862" cy="1764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4"/>
                </a:lnRef>
                <a:fillRef idx="3">
                  <a:schemeClr val="accent4"/>
                </a:fillRef>
                <a:effectRef idx="3">
                  <a:schemeClr val="accent4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Channel(s):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Requested V.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Actual Value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Scaling?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Unit?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Enable?</a:t>
                  </a:r>
                </a:p>
              </p:txBody>
            </p:sp>
          </p:grpSp>
          <p:sp>
            <p:nvSpPr>
              <p:cNvPr id="42" name="Rectangle 41"/>
              <p:cNvSpPr/>
              <p:nvPr/>
            </p:nvSpPr>
            <p:spPr>
              <a:xfrm>
                <a:off x="3485908" y="3401679"/>
                <a:ext cx="1554905" cy="6660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Device Interface</a:t>
                </a:r>
              </a:p>
            </p:txBody>
          </p:sp>
        </p:grpSp>
        <p:sp>
          <p:nvSpPr>
            <p:cNvPr id="34" name="Rectangle 33"/>
            <p:cNvSpPr/>
            <p:nvPr/>
          </p:nvSpPr>
          <p:spPr>
            <a:xfrm>
              <a:off x="8122676" y="3582649"/>
              <a:ext cx="1103689" cy="14548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Housekeeping Sheduler</a:t>
              </a: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8122676" y="2025718"/>
              <a:ext cx="1103689" cy="1453459"/>
              <a:chOff x="8126765" y="2025718"/>
              <a:chExt cx="1103689" cy="1453459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8126765" y="2025718"/>
                <a:ext cx="1103689" cy="1453459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ation Procedure</a:t>
                </a: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>
                <a:off x="8219279" y="2424832"/>
                <a:ext cx="917750" cy="964261"/>
                <a:chOff x="8219279" y="2424832"/>
                <a:chExt cx="917750" cy="964261"/>
              </a:xfrm>
            </p:grpSpPr>
            <p:sp>
              <p:nvSpPr>
                <p:cNvPr id="38" name="Rectangle 37"/>
                <p:cNvSpPr/>
                <p:nvPr/>
              </p:nvSpPr>
              <p:spPr>
                <a:xfrm>
                  <a:off x="8308045" y="2424832"/>
                  <a:ext cx="828984" cy="882000"/>
                </a:xfrm>
                <a:prstGeom prst="rect">
                  <a:avLst/>
                </a:prstGeom>
                <a:gradFill>
                  <a:gsLst>
                    <a:gs pos="0">
                      <a:srgbClr val="B5C026"/>
                    </a:gs>
                    <a:gs pos="50000">
                      <a:srgbClr val="BBC71F"/>
                    </a:gs>
                    <a:gs pos="100000">
                      <a:srgbClr val="A4AE28"/>
                    </a:gs>
                  </a:gsLst>
                </a:gradFill>
                <a:ln>
                  <a:tailEnd type="triangle" w="lg" len="med"/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9" name="Rectangle 38"/>
                <p:cNvSpPr/>
                <p:nvPr/>
              </p:nvSpPr>
              <p:spPr>
                <a:xfrm>
                  <a:off x="8219279" y="2507093"/>
                  <a:ext cx="839778" cy="882000"/>
                </a:xfrm>
                <a:prstGeom prst="rect">
                  <a:avLst/>
                </a:prstGeom>
                <a:gradFill>
                  <a:gsLst>
                    <a:gs pos="0">
                      <a:srgbClr val="B5C026"/>
                    </a:gs>
                    <a:gs pos="50000">
                      <a:srgbClr val="BBC71F"/>
                    </a:gs>
                    <a:gs pos="100000">
                      <a:srgbClr val="A4AE28"/>
                    </a:gs>
                  </a:gsLst>
                </a:gradFill>
                <a:ln>
                  <a:tailEnd type="triangle" w="lg" len="med"/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Steps: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Poll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Calibrate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Initialize...</a:t>
                  </a:r>
                </a:p>
              </p:txBody>
            </p:sp>
          </p:grpSp>
        </p:grpSp>
      </p:grpSp>
      <p:grpSp>
        <p:nvGrpSpPr>
          <p:cNvPr id="10" name="Group 9"/>
          <p:cNvGrpSpPr/>
          <p:nvPr/>
        </p:nvGrpSpPr>
        <p:grpSpPr>
          <a:xfrm>
            <a:off x="6384263" y="5204498"/>
            <a:ext cx="1655664" cy="1203502"/>
            <a:chOff x="3282397" y="4402268"/>
            <a:chExt cx="1948671" cy="1653146"/>
          </a:xfrm>
        </p:grpSpPr>
        <p:grpSp>
          <p:nvGrpSpPr>
            <p:cNvPr id="28" name="Group 27"/>
            <p:cNvGrpSpPr/>
            <p:nvPr/>
          </p:nvGrpSpPr>
          <p:grpSpPr>
            <a:xfrm>
              <a:off x="3282397" y="4402268"/>
              <a:ext cx="1948671" cy="1653146"/>
              <a:chOff x="3395068" y="4412318"/>
              <a:chExt cx="1960872" cy="1653146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524588" y="4412318"/>
                <a:ext cx="1831352" cy="15444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395068" y="4522373"/>
                <a:ext cx="1831352" cy="1543091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Master Interface(s)</a:t>
                </a: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3414922" y="5257940"/>
              <a:ext cx="1554905" cy="665394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tx2">
                    <a:lumMod val="25000"/>
                    <a:lumOff val="75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ommunication Thread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8126765" y="5204498"/>
            <a:ext cx="1294645" cy="1203503"/>
            <a:chOff x="5333274" y="4402268"/>
            <a:chExt cx="1523761" cy="1653147"/>
          </a:xfrm>
        </p:grpSpPr>
        <p:sp>
          <p:nvSpPr>
            <p:cNvPr id="26" name="Rectangle 25"/>
            <p:cNvSpPr/>
            <p:nvPr/>
          </p:nvSpPr>
          <p:spPr>
            <a:xfrm>
              <a:off x="5462794" y="4402268"/>
              <a:ext cx="1394241" cy="15215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5333274" y="4535145"/>
              <a:ext cx="1394241" cy="152027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Housekeeping Cycle(s)</a:t>
              </a: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9578232" y="2025718"/>
            <a:ext cx="1666031" cy="1453459"/>
            <a:chOff x="9154891" y="1689001"/>
            <a:chExt cx="1960872" cy="1996490"/>
          </a:xfrm>
        </p:grpSpPr>
        <p:grpSp>
          <p:nvGrpSpPr>
            <p:cNvPr id="20" name="Group 19"/>
            <p:cNvGrpSpPr/>
            <p:nvPr/>
          </p:nvGrpSpPr>
          <p:grpSpPr>
            <a:xfrm>
              <a:off x="9154891" y="1689001"/>
              <a:ext cx="1960872" cy="1996490"/>
              <a:chOff x="2473582" y="2166521"/>
              <a:chExt cx="1960872" cy="1653146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2603102" y="2166521"/>
                <a:ext cx="1831352" cy="15444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2473582" y="2276576"/>
                <a:ext cx="1831352" cy="1543091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equence(s</a:t>
                </a:r>
                <a:r>
                  <a:rPr lang="de-DE" sz="1100" b="1" dirty="0">
                    <a:solidFill>
                      <a:sysClr val="windowText" lastClr="000000"/>
                    </a:solidFill>
                  </a:rPr>
                  <a:t>)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9281193" y="2209318"/>
              <a:ext cx="1561161" cy="1356949"/>
              <a:chOff x="9281193" y="2209318"/>
              <a:chExt cx="1561161" cy="1356949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9402354" y="2209318"/>
                <a:ext cx="1440000" cy="1230457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9281193" y="2322313"/>
                <a:ext cx="1440000" cy="1243954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hecks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hanges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Ramps,...</a:t>
                </a:r>
              </a:p>
            </p:txBody>
          </p:sp>
        </p:grpSp>
      </p:grpSp>
      <p:sp>
        <p:nvSpPr>
          <p:cNvPr id="49" name="Rectangle 48"/>
          <p:cNvSpPr/>
          <p:nvPr/>
        </p:nvSpPr>
        <p:spPr>
          <a:xfrm>
            <a:off x="9688277" y="5204498"/>
            <a:ext cx="1184600" cy="1107706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</a:gradFill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endParaRPr lang="de-DE" sz="1100" b="1" dirty="0">
              <a:solidFill>
                <a:sysClr val="windowText" lastClr="000000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9578232" y="5301233"/>
            <a:ext cx="1184600" cy="1106768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</a:gradFill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r>
              <a:rPr lang="de-DE" sz="1100" b="1" dirty="0">
                <a:solidFill>
                  <a:sysClr val="windowText" lastClr="000000"/>
                </a:solidFill>
              </a:rPr>
              <a:t>Housekeeping Blocker(s)</a:t>
            </a:r>
          </a:p>
        </p:txBody>
      </p:sp>
      <p:sp>
        <p:nvSpPr>
          <p:cNvPr id="51" name="Rectangle 50"/>
          <p:cNvSpPr/>
          <p:nvPr/>
        </p:nvSpPr>
        <p:spPr>
          <a:xfrm>
            <a:off x="8215190" y="4443903"/>
            <a:ext cx="917750" cy="484412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5"/>
              </a:gs>
            </a:gsLst>
          </a:gradFill>
          <a:ln>
            <a:tailEnd type="triangle" w="lg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r>
              <a:rPr lang="de-DE" sz="1100" b="1" dirty="0" smtClean="0">
                <a:solidFill>
                  <a:sysClr val="windowText" lastClr="000000"/>
                </a:solidFill>
              </a:rPr>
              <a:t>Housekeep Thread</a:t>
            </a:r>
          </a:p>
        </p:txBody>
      </p:sp>
    </p:spTree>
    <p:extLst>
      <p:ext uri="{BB962C8B-B14F-4D97-AF65-F5344CB8AC3E}">
        <p14:creationId xmlns:p14="http://schemas.microsoft.com/office/powerpoint/2010/main" val="1191498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5018952" cy="4759147"/>
          </a:xfrm>
        </p:spPr>
        <p:txBody>
          <a:bodyPr/>
          <a:lstStyle/>
          <a:p>
            <a:r>
              <a:rPr lang="de-DE" dirty="0" smtClean="0"/>
              <a:t>Define sets of checks that may trigger an automatic action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heck against all data available on the server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mplex nesting of checks with all basic logic operations (AND, OR, NOT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Latching behavior on demand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vailable actions to trigger are quite few for now.</a:t>
            </a:r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list of checks that must hold true while the system is in STANDBY state to ba able to change to PEAK stat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set of fault conditions that trigger an emergency shutdown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Conditions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4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9" name="Group 8"/>
          <p:cNvGrpSpPr/>
          <p:nvPr/>
        </p:nvGrpSpPr>
        <p:grpSpPr>
          <a:xfrm>
            <a:off x="6394099" y="1648853"/>
            <a:ext cx="3027311" cy="3459490"/>
            <a:chOff x="6394099" y="1648853"/>
            <a:chExt cx="3027311" cy="3459490"/>
          </a:xfrm>
        </p:grpSpPr>
        <p:grpSp>
          <p:nvGrpSpPr>
            <p:cNvPr id="32" name="Group 31"/>
            <p:cNvGrpSpPr/>
            <p:nvPr/>
          </p:nvGrpSpPr>
          <p:grpSpPr>
            <a:xfrm>
              <a:off x="6394099" y="1648853"/>
              <a:ext cx="3027311" cy="3459490"/>
              <a:chOff x="6677254" y="1648854"/>
              <a:chExt cx="3563061" cy="4752000"/>
            </a:xfrm>
          </p:grpSpPr>
          <p:sp>
            <p:nvSpPr>
              <p:cNvPr id="47" name="Rectangle 46"/>
              <p:cNvSpPr/>
              <p:nvPr/>
            </p:nvSpPr>
            <p:spPr>
              <a:xfrm>
                <a:off x="6784315" y="1648854"/>
                <a:ext cx="3456000" cy="4652236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>
              <a:xfrm>
                <a:off x="6677254" y="1758910"/>
                <a:ext cx="3456000" cy="4641944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4"/>
              </a:lnRef>
              <a:fillRef idx="3">
                <a:schemeClr val="accent4"/>
              </a:fillRef>
              <a:effectRef idx="3">
                <a:schemeClr val="accent4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luster(s)</a:t>
                </a:r>
              </a:p>
            </p:txBody>
          </p:sp>
        </p:grpSp>
        <p:grpSp>
          <p:nvGrpSpPr>
            <p:cNvPr id="33" name="Group 32"/>
            <p:cNvGrpSpPr/>
            <p:nvPr/>
          </p:nvGrpSpPr>
          <p:grpSpPr>
            <a:xfrm>
              <a:off x="6475903" y="2025718"/>
              <a:ext cx="1559935" cy="3011767"/>
              <a:chOff x="3395068" y="35855"/>
              <a:chExt cx="1836000" cy="4137002"/>
            </a:xfrm>
          </p:grpSpPr>
          <p:grpSp>
            <p:nvGrpSpPr>
              <p:cNvPr id="40" name="Group 39"/>
              <p:cNvGrpSpPr/>
              <p:nvPr/>
            </p:nvGrpSpPr>
            <p:grpSpPr>
              <a:xfrm>
                <a:off x="3395068" y="35855"/>
                <a:ext cx="1836000" cy="4137002"/>
                <a:chOff x="1072578" y="2055523"/>
                <a:chExt cx="2412222" cy="4248000"/>
              </a:xfrm>
            </p:grpSpPr>
            <p:sp>
              <p:nvSpPr>
                <p:cNvPr id="45" name="Rectangle 44"/>
                <p:cNvSpPr/>
                <p:nvPr/>
              </p:nvSpPr>
              <p:spPr>
                <a:xfrm>
                  <a:off x="1180800" y="2055523"/>
                  <a:ext cx="2304000" cy="4140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 smtClea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6" name="Rectangle 45"/>
                <p:cNvSpPr/>
                <p:nvPr/>
              </p:nvSpPr>
              <p:spPr>
                <a:xfrm>
                  <a:off x="1072578" y="2163523"/>
                  <a:ext cx="2304000" cy="4140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3"/>
                </a:lnRef>
                <a:fillRef idx="3">
                  <a:schemeClr val="accent3"/>
                </a:fillRef>
                <a:effectRef idx="3">
                  <a:schemeClr val="accent3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Device(s)</a:t>
                  </a:r>
                </a:p>
              </p:txBody>
            </p:sp>
          </p:grpSp>
          <p:grpSp>
            <p:nvGrpSpPr>
              <p:cNvPr id="41" name="Group 40"/>
              <p:cNvGrpSpPr/>
              <p:nvPr/>
            </p:nvGrpSpPr>
            <p:grpSpPr>
              <a:xfrm>
                <a:off x="3485909" y="571516"/>
                <a:ext cx="1554904" cy="1887841"/>
                <a:chOff x="3485909" y="571516"/>
                <a:chExt cx="1554904" cy="1887841"/>
              </a:xfrm>
            </p:grpSpPr>
            <p:sp>
              <p:nvSpPr>
                <p:cNvPr id="43" name="Rectangle 42"/>
                <p:cNvSpPr/>
                <p:nvPr/>
              </p:nvSpPr>
              <p:spPr>
                <a:xfrm>
                  <a:off x="3573578" y="571516"/>
                  <a:ext cx="1467235" cy="1764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4"/>
                </a:lnRef>
                <a:fillRef idx="3">
                  <a:schemeClr val="accent4"/>
                </a:fillRef>
                <a:effectRef idx="3">
                  <a:schemeClr val="accent4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 smtClean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44" name="Rectangle 43"/>
                <p:cNvSpPr/>
                <p:nvPr/>
              </p:nvSpPr>
              <p:spPr>
                <a:xfrm>
                  <a:off x="3485909" y="695357"/>
                  <a:ext cx="1448862" cy="1764000"/>
                </a:xfrm>
                <a:prstGeom prst="rect">
                  <a:avLst/>
                </a:prstGeom>
                <a:ln>
                  <a:tailEnd type="triangle" w="lg" len="med"/>
                </a:ln>
              </p:spPr>
              <p:style>
                <a:lnRef idx="0">
                  <a:schemeClr val="accent4"/>
                </a:lnRef>
                <a:fillRef idx="3">
                  <a:schemeClr val="accent4"/>
                </a:fillRef>
                <a:effectRef idx="3">
                  <a:schemeClr val="accent4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Channel(s):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Requested V.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Actual Value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Scaling?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Unit?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Enable?</a:t>
                  </a:r>
                </a:p>
              </p:txBody>
            </p:sp>
          </p:grpSp>
          <p:sp>
            <p:nvSpPr>
              <p:cNvPr id="42" name="Rectangle 41"/>
              <p:cNvSpPr/>
              <p:nvPr/>
            </p:nvSpPr>
            <p:spPr>
              <a:xfrm>
                <a:off x="3485908" y="3401679"/>
                <a:ext cx="1554905" cy="6660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Device Interface</a:t>
                </a:r>
              </a:p>
            </p:txBody>
          </p:sp>
        </p:grpSp>
        <p:sp>
          <p:nvSpPr>
            <p:cNvPr id="34" name="Rectangle 33"/>
            <p:cNvSpPr/>
            <p:nvPr/>
          </p:nvSpPr>
          <p:spPr>
            <a:xfrm>
              <a:off x="8122676" y="3582649"/>
              <a:ext cx="1103689" cy="14548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Housekeeping Sheduler</a:t>
              </a:r>
            </a:p>
          </p:txBody>
        </p:sp>
        <p:grpSp>
          <p:nvGrpSpPr>
            <p:cNvPr id="35" name="Group 34"/>
            <p:cNvGrpSpPr/>
            <p:nvPr/>
          </p:nvGrpSpPr>
          <p:grpSpPr>
            <a:xfrm>
              <a:off x="8122676" y="2025718"/>
              <a:ext cx="1103689" cy="1453459"/>
              <a:chOff x="8126765" y="2025718"/>
              <a:chExt cx="1103689" cy="1453459"/>
            </a:xfrm>
          </p:grpSpPr>
          <p:sp>
            <p:nvSpPr>
              <p:cNvPr id="36" name="Rectangle 35"/>
              <p:cNvSpPr/>
              <p:nvPr/>
            </p:nvSpPr>
            <p:spPr>
              <a:xfrm>
                <a:off x="8126765" y="2025718"/>
                <a:ext cx="1103689" cy="1453459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ation Procedure</a:t>
                </a: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>
                <a:off x="8219279" y="2424832"/>
                <a:ext cx="917750" cy="964261"/>
                <a:chOff x="8219279" y="2424832"/>
                <a:chExt cx="917750" cy="964261"/>
              </a:xfrm>
            </p:grpSpPr>
            <p:sp>
              <p:nvSpPr>
                <p:cNvPr id="38" name="Rectangle 37"/>
                <p:cNvSpPr/>
                <p:nvPr/>
              </p:nvSpPr>
              <p:spPr>
                <a:xfrm>
                  <a:off x="8308045" y="2424832"/>
                  <a:ext cx="828984" cy="882000"/>
                </a:xfrm>
                <a:prstGeom prst="rect">
                  <a:avLst/>
                </a:prstGeom>
                <a:gradFill>
                  <a:gsLst>
                    <a:gs pos="0">
                      <a:srgbClr val="B5C026"/>
                    </a:gs>
                    <a:gs pos="50000">
                      <a:srgbClr val="BBC71F"/>
                    </a:gs>
                    <a:gs pos="100000">
                      <a:srgbClr val="A4AE28"/>
                    </a:gs>
                  </a:gsLst>
                </a:gradFill>
                <a:ln>
                  <a:tailEnd type="triangle" w="lg" len="med"/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endParaRPr lang="de-DE" sz="1100" b="1" dirty="0">
                    <a:solidFill>
                      <a:sysClr val="windowText" lastClr="000000"/>
                    </a:solidFill>
                  </a:endParaRPr>
                </a:p>
              </p:txBody>
            </p:sp>
            <p:sp>
              <p:nvSpPr>
                <p:cNvPr id="39" name="Rectangle 38"/>
                <p:cNvSpPr/>
                <p:nvPr/>
              </p:nvSpPr>
              <p:spPr>
                <a:xfrm>
                  <a:off x="8219279" y="2507093"/>
                  <a:ext cx="839778" cy="882000"/>
                </a:xfrm>
                <a:prstGeom prst="rect">
                  <a:avLst/>
                </a:prstGeom>
                <a:gradFill>
                  <a:gsLst>
                    <a:gs pos="0">
                      <a:srgbClr val="B5C026"/>
                    </a:gs>
                    <a:gs pos="50000">
                      <a:srgbClr val="BBC71F"/>
                    </a:gs>
                    <a:gs pos="100000">
                      <a:srgbClr val="A4AE28"/>
                    </a:gs>
                  </a:gsLst>
                </a:gradFill>
                <a:ln>
                  <a:tailEnd type="triangle" w="lg" len="med"/>
                </a:ln>
              </p:spPr>
              <p:style>
                <a:lnRef idx="0">
                  <a:schemeClr val="accent2"/>
                </a:lnRef>
                <a:fillRef idx="3">
                  <a:schemeClr val="accent2"/>
                </a:fillRef>
                <a:effectRef idx="3">
                  <a:schemeClr val="accent2"/>
                </a:effectRef>
                <a:fontRef idx="minor">
                  <a:schemeClr val="lt1"/>
                </a:fontRef>
              </p:style>
              <p:txBody>
                <a:bodyPr wrap="square" lIns="72000" tIns="72000" rIns="72000" bIns="72000" rtlCol="0" anchor="t" anchorCtr="1"/>
                <a:lstStyle/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Steps: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Poll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Calibrate,</a:t>
                  </a:r>
                </a:p>
                <a:p>
                  <a:pPr algn="ctr">
                    <a:spcBef>
                      <a:spcPts val="200"/>
                    </a:spcBef>
                    <a:buClr>
                      <a:srgbClr val="116656"/>
                    </a:buClr>
                    <a:buSzPct val="120000"/>
                  </a:pPr>
                  <a:r>
                    <a:rPr lang="de-DE" sz="1100" b="1" dirty="0" smtClean="0">
                      <a:solidFill>
                        <a:sysClr val="windowText" lastClr="000000"/>
                      </a:solidFill>
                    </a:rPr>
                    <a:t>Initialize...</a:t>
                  </a:r>
                </a:p>
              </p:txBody>
            </p:sp>
          </p:grpSp>
        </p:grpSp>
      </p:grpSp>
      <p:grpSp>
        <p:nvGrpSpPr>
          <p:cNvPr id="10" name="Group 9"/>
          <p:cNvGrpSpPr/>
          <p:nvPr/>
        </p:nvGrpSpPr>
        <p:grpSpPr>
          <a:xfrm>
            <a:off x="6384263" y="5204498"/>
            <a:ext cx="1655664" cy="1203502"/>
            <a:chOff x="3282397" y="4402268"/>
            <a:chExt cx="1948671" cy="1653146"/>
          </a:xfrm>
        </p:grpSpPr>
        <p:grpSp>
          <p:nvGrpSpPr>
            <p:cNvPr id="28" name="Group 27"/>
            <p:cNvGrpSpPr/>
            <p:nvPr/>
          </p:nvGrpSpPr>
          <p:grpSpPr>
            <a:xfrm>
              <a:off x="3282397" y="4402268"/>
              <a:ext cx="1948671" cy="1653146"/>
              <a:chOff x="3395068" y="4412318"/>
              <a:chExt cx="1960872" cy="1653146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524588" y="4412318"/>
                <a:ext cx="1831352" cy="15444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395068" y="4522373"/>
                <a:ext cx="1831352" cy="1543091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Master Interface(s)</a:t>
                </a: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3414922" y="5257940"/>
              <a:ext cx="1554905" cy="665394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tx2">
                    <a:lumMod val="25000"/>
                    <a:lumOff val="75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ommunication Thread</a:t>
              </a:r>
            </a:p>
          </p:txBody>
        </p:sp>
      </p:grpSp>
      <p:sp>
        <p:nvSpPr>
          <p:cNvPr id="26" name="Rectangle 25"/>
          <p:cNvSpPr/>
          <p:nvPr/>
        </p:nvSpPr>
        <p:spPr>
          <a:xfrm>
            <a:off x="8236810" y="5204498"/>
            <a:ext cx="1184600" cy="1107706"/>
          </a:xfrm>
          <a:prstGeom prst="rect">
            <a:avLst/>
          </a:prstGeom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endParaRPr lang="de-DE" sz="1100" b="1" dirty="0" smtClean="0">
              <a:solidFill>
                <a:sysClr val="windowText" lastClr="00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8126765" y="5301233"/>
            <a:ext cx="1184600" cy="1106768"/>
          </a:xfrm>
          <a:prstGeom prst="rect">
            <a:avLst/>
          </a:prstGeom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r>
              <a:rPr lang="de-DE" sz="1100" b="1" dirty="0" smtClean="0">
                <a:solidFill>
                  <a:sysClr val="windowText" lastClr="000000"/>
                </a:solidFill>
              </a:rPr>
              <a:t>Housekeeping Cycle(s)</a:t>
            </a:r>
          </a:p>
        </p:txBody>
      </p:sp>
      <p:sp>
        <p:nvSpPr>
          <p:cNvPr id="49" name="Rectangle 48"/>
          <p:cNvSpPr/>
          <p:nvPr/>
        </p:nvSpPr>
        <p:spPr>
          <a:xfrm>
            <a:off x="9688277" y="5204498"/>
            <a:ext cx="1184600" cy="1107706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</a:gradFill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endParaRPr lang="de-DE" sz="1100" b="1" dirty="0">
              <a:solidFill>
                <a:sysClr val="windowText" lastClr="000000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9578232" y="5301233"/>
            <a:ext cx="1184600" cy="1106768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40000"/>
                  <a:lumOff val="60000"/>
                </a:schemeClr>
              </a:gs>
              <a:gs pos="100000">
                <a:schemeClr val="accent6">
                  <a:lumMod val="60000"/>
                  <a:lumOff val="40000"/>
                </a:schemeClr>
              </a:gs>
            </a:gsLst>
          </a:gradFill>
          <a:ln>
            <a:tailEnd type="triangle" w="lg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lIns="72000" tIns="72000" rIns="72000" bIns="72000" rtlCol="0" anchor="t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r>
              <a:rPr lang="de-DE" sz="1100" b="1" dirty="0">
                <a:solidFill>
                  <a:sysClr val="windowText" lastClr="000000"/>
                </a:solidFill>
              </a:rPr>
              <a:t>Housekeeping Blocker(s)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9578232" y="2025718"/>
            <a:ext cx="1666031" cy="1453459"/>
            <a:chOff x="9154891" y="1689001"/>
            <a:chExt cx="1960872" cy="1996490"/>
          </a:xfrm>
        </p:grpSpPr>
        <p:grpSp>
          <p:nvGrpSpPr>
            <p:cNvPr id="20" name="Group 19"/>
            <p:cNvGrpSpPr/>
            <p:nvPr/>
          </p:nvGrpSpPr>
          <p:grpSpPr>
            <a:xfrm>
              <a:off x="9154891" y="1689001"/>
              <a:ext cx="1960872" cy="1996490"/>
              <a:chOff x="2473582" y="2166521"/>
              <a:chExt cx="1960872" cy="1653146"/>
            </a:xfrm>
          </p:grpSpPr>
          <p:sp>
            <p:nvSpPr>
              <p:cNvPr id="24" name="Rectangle 23"/>
              <p:cNvSpPr/>
              <p:nvPr/>
            </p:nvSpPr>
            <p:spPr>
              <a:xfrm>
                <a:off x="2603102" y="2166521"/>
                <a:ext cx="1831352" cy="15444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2473582" y="2276576"/>
                <a:ext cx="1831352" cy="1543091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equence(s</a:t>
                </a:r>
                <a:r>
                  <a:rPr lang="de-DE" sz="1100" b="1" dirty="0">
                    <a:solidFill>
                      <a:sysClr val="windowText" lastClr="000000"/>
                    </a:solidFill>
                  </a:rPr>
                  <a:t>)</a:t>
                </a:r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9281193" y="2209318"/>
              <a:ext cx="1561161" cy="1356949"/>
              <a:chOff x="9281193" y="2209318"/>
              <a:chExt cx="1561161" cy="1356949"/>
            </a:xfrm>
          </p:grpSpPr>
          <p:sp>
            <p:nvSpPr>
              <p:cNvPr id="22" name="Rectangle 21"/>
              <p:cNvSpPr/>
              <p:nvPr/>
            </p:nvSpPr>
            <p:spPr>
              <a:xfrm>
                <a:off x="9402354" y="2209318"/>
                <a:ext cx="1440000" cy="1230457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9281193" y="2322313"/>
                <a:ext cx="1440000" cy="1243954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hecks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hanges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Ramps,...</a:t>
                </a:r>
              </a:p>
            </p:txBody>
          </p:sp>
        </p:grpSp>
      </p:grpSp>
      <p:grpSp>
        <p:nvGrpSpPr>
          <p:cNvPr id="13" name="Group 12"/>
          <p:cNvGrpSpPr/>
          <p:nvPr/>
        </p:nvGrpSpPr>
        <p:grpSpPr>
          <a:xfrm>
            <a:off x="9578232" y="3582328"/>
            <a:ext cx="1666031" cy="1437708"/>
            <a:chOff x="7041611" y="2174034"/>
            <a:chExt cx="1960872" cy="1974854"/>
          </a:xfrm>
        </p:grpSpPr>
        <p:grpSp>
          <p:nvGrpSpPr>
            <p:cNvPr id="14" name="Group 13"/>
            <p:cNvGrpSpPr/>
            <p:nvPr/>
          </p:nvGrpSpPr>
          <p:grpSpPr>
            <a:xfrm>
              <a:off x="7041611" y="2174034"/>
              <a:ext cx="1960872" cy="1974854"/>
              <a:chOff x="7041611" y="2174034"/>
              <a:chExt cx="1960872" cy="1974854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7171131" y="2174034"/>
                <a:ext cx="1831352" cy="18648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7041611" y="2284088"/>
                <a:ext cx="1831352" cy="1864800"/>
              </a:xfrm>
              <a:prstGeom prst="rect">
                <a:avLst/>
              </a:prstGeom>
              <a:ln>
                <a:tailEnd type="triangle" w="lg" len="med"/>
              </a:ln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ondition(s</a:t>
                </a:r>
                <a:r>
                  <a:rPr lang="de-DE" sz="1100" b="1" dirty="0">
                    <a:solidFill>
                      <a:sysClr val="windowText" lastClr="000000"/>
                    </a:solidFill>
                  </a:rPr>
                  <a:t>)</a:t>
                </a:r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7167913" y="2637600"/>
              <a:ext cx="1561161" cy="1396841"/>
              <a:chOff x="7167913" y="2881311"/>
              <a:chExt cx="1561161" cy="1396841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7289074" y="2881311"/>
                <a:ext cx="1440000" cy="1245600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ctr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7167913" y="3032552"/>
                <a:ext cx="1440000" cy="1245600"/>
              </a:xfrm>
              <a:prstGeom prst="rect">
                <a:avLst/>
              </a:prstGeom>
              <a:ln/>
            </p:spPr>
            <p:style>
              <a:lnRef idx="0">
                <a:schemeClr val="accent5"/>
              </a:lnRef>
              <a:fillRef idx="3">
                <a:schemeClr val="accent5"/>
              </a:fillRef>
              <a:effectRef idx="3">
                <a:schemeClr val="accent5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ondition(s)</a:t>
                </a: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</p:grpSp>
      </p:grpSp>
      <p:sp>
        <p:nvSpPr>
          <p:cNvPr id="51" name="Rectangle 50"/>
          <p:cNvSpPr/>
          <p:nvPr/>
        </p:nvSpPr>
        <p:spPr>
          <a:xfrm>
            <a:off x="8215190" y="4443903"/>
            <a:ext cx="917750" cy="484412"/>
          </a:xfrm>
          <a:prstGeom prst="rect">
            <a:avLst/>
          </a:prstGeom>
          <a:gradFill>
            <a:gsLst>
              <a:gs pos="0">
                <a:schemeClr val="accent6">
                  <a:lumMod val="20000"/>
                  <a:lumOff val="80000"/>
                </a:schemeClr>
              </a:gs>
              <a:gs pos="50000">
                <a:schemeClr val="accent6">
                  <a:lumMod val="60000"/>
                  <a:lumOff val="40000"/>
                </a:schemeClr>
              </a:gs>
              <a:gs pos="100000">
                <a:schemeClr val="accent5"/>
              </a:gs>
            </a:gsLst>
          </a:gradFill>
          <a:ln>
            <a:tailEnd type="triangle" w="lg" len="med"/>
          </a:ln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 lIns="72000" tIns="72000" rIns="72000" bIns="72000" rtlCol="0" anchor="ctr" anchorCtr="1"/>
          <a:lstStyle/>
          <a:p>
            <a:pPr algn="ctr">
              <a:spcBef>
                <a:spcPts val="200"/>
              </a:spcBef>
              <a:buClr>
                <a:srgbClr val="116656"/>
              </a:buClr>
              <a:buSzPct val="120000"/>
            </a:pPr>
            <a:r>
              <a:rPr lang="de-DE" sz="1100" b="1" dirty="0" smtClean="0">
                <a:solidFill>
                  <a:sysClr val="windowText" lastClr="000000"/>
                </a:solidFill>
              </a:rPr>
              <a:t>Housekeep Thread</a:t>
            </a:r>
          </a:p>
        </p:txBody>
      </p:sp>
    </p:spTree>
    <p:extLst>
      <p:ext uri="{BB962C8B-B14F-4D97-AF65-F5344CB8AC3E}">
        <p14:creationId xmlns:p14="http://schemas.microsoft.com/office/powerpoint/2010/main" val="68961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Content Placeholder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25" t="69215" r="20126" b="6166"/>
          <a:stretch/>
        </p:blipFill>
        <p:spPr>
          <a:xfrm>
            <a:off x="784030" y="3786547"/>
            <a:ext cx="2674756" cy="1081148"/>
          </a:xfrm>
          <a:prstGeom prst="rect">
            <a:avLst/>
          </a:prstGeom>
        </p:spPr>
      </p:pic>
      <p:pic>
        <p:nvPicPr>
          <p:cNvPr id="13" name="Content Placeholder 12"/>
          <p:cNvPicPr>
            <a:picLocks noGrp="1" noChangeAspect="1"/>
          </p:cNvPicPr>
          <p:nvPr>
            <p:ph sz="half" idx="13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98" t="15962" r="3193" b="2426"/>
          <a:stretch/>
        </p:blipFill>
        <p:spPr>
          <a:xfrm>
            <a:off x="7278674" y="1699086"/>
            <a:ext cx="4169564" cy="4063334"/>
          </a:xfrm>
        </p:spPr>
      </p:pic>
      <p:pic>
        <p:nvPicPr>
          <p:cNvPr id="12" name="Content Placeholder 11"/>
          <p:cNvPicPr>
            <a:picLocks noGrp="1" noChangeAspect="1"/>
          </p:cNvPicPr>
          <p:nvPr>
            <p:ph sz="half"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25" t="18151" r="20126" b="51816"/>
          <a:stretch/>
        </p:blipFill>
        <p:spPr>
          <a:xfrm>
            <a:off x="784030" y="2522337"/>
            <a:ext cx="2674756" cy="1318892"/>
          </a:xfrm>
        </p:spPr>
      </p:pic>
      <p:pic>
        <p:nvPicPr>
          <p:cNvPr id="11" name="Content Placeholder 10"/>
          <p:cNvPicPr>
            <a:picLocks noGrp="1" noChangeAspect="1"/>
          </p:cNvPicPr>
          <p:nvPr>
            <p:ph sz="half" idx="2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51" r="3865"/>
          <a:stretch/>
        </p:blipFill>
        <p:spPr>
          <a:xfrm>
            <a:off x="3017520" y="3181783"/>
            <a:ext cx="5678424" cy="3047896"/>
          </a:xfr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mponents of the VI </a:t>
            </a:r>
            <a:r>
              <a:rPr lang="de-DE" dirty="0" smtClean="0"/>
              <a:t>Server – It‘s Time to Create!</a:t>
            </a:r>
            <a:endParaRPr lang="de-DE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5</a:t>
            </a:fld>
            <a:endParaRPr lang="de-DE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14" name="Arc 13"/>
          <p:cNvSpPr/>
          <p:nvPr/>
        </p:nvSpPr>
        <p:spPr>
          <a:xfrm>
            <a:off x="2568337" y="3453003"/>
            <a:ext cx="2395728" cy="1115568"/>
          </a:xfrm>
          <a:prstGeom prst="arc">
            <a:avLst>
              <a:gd name="adj1" fmla="val 12617359"/>
              <a:gd name="adj2" fmla="val 21022311"/>
            </a:avLst>
          </a:prstGeom>
          <a:ln w="57150">
            <a:headEnd type="arrow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Arc 14"/>
          <p:cNvSpPr/>
          <p:nvPr/>
        </p:nvSpPr>
        <p:spPr>
          <a:xfrm rot="20659979" flipH="1">
            <a:off x="5673470" y="3114724"/>
            <a:ext cx="2395728" cy="1115568"/>
          </a:xfrm>
          <a:prstGeom prst="arc">
            <a:avLst>
              <a:gd name="adj1" fmla="val 12617359"/>
              <a:gd name="adj2" fmla="val 21022311"/>
            </a:avLst>
          </a:prstGeom>
          <a:ln w="57150">
            <a:headEnd type="arrow" w="med" len="med"/>
            <a:tailEnd type="none" w="med" len="med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Box 16"/>
          <p:cNvSpPr txBox="1"/>
          <p:nvPr/>
        </p:nvSpPr>
        <p:spPr>
          <a:xfrm>
            <a:off x="4539865" y="5915395"/>
            <a:ext cx="2633734" cy="2562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</a:rPr>
              <a:t>(legally distinct system building blocks)</a:t>
            </a:r>
          </a:p>
        </p:txBody>
      </p:sp>
    </p:spTree>
    <p:extLst>
      <p:ext uri="{BB962C8B-B14F-4D97-AF65-F5344CB8AC3E}">
        <p14:creationId xmlns:p14="http://schemas.microsoft.com/office/powerpoint/2010/main" val="29752605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Bench Power Supplies:</a:t>
            </a:r>
          </a:p>
          <a:p>
            <a:pPr lvl="1"/>
            <a:r>
              <a:rPr lang="de-DE" dirty="0" smtClean="0"/>
              <a:t>Rohde &amp; Schwarz 804x &amp; 4040</a:t>
            </a:r>
          </a:p>
          <a:p>
            <a:r>
              <a:rPr lang="de-DE" dirty="0" smtClean="0"/>
              <a:t>Source Measure Units:</a:t>
            </a:r>
          </a:p>
          <a:p>
            <a:pPr lvl="1"/>
            <a:r>
              <a:rPr lang="de-DE" dirty="0" smtClean="0"/>
              <a:t>Keithley 236-238, 2400, 2612</a:t>
            </a:r>
          </a:p>
          <a:p>
            <a:pPr lvl="1"/>
            <a:r>
              <a:rPr lang="de-DE" dirty="0" smtClean="0"/>
              <a:t>AimTTi PLH &amp; PLH-P</a:t>
            </a:r>
          </a:p>
          <a:p>
            <a:r>
              <a:rPr lang="de-DE" dirty="0" smtClean="0"/>
              <a:t>Electronic Load: </a:t>
            </a:r>
            <a:r>
              <a:rPr lang="de-DE" b="0" dirty="0" smtClean="0">
                <a:solidFill>
                  <a:schemeClr val="tx1"/>
                </a:solidFill>
              </a:rPr>
              <a:t>CSI 371x</a:t>
            </a:r>
          </a:p>
          <a:p>
            <a:r>
              <a:rPr lang="de-DE" dirty="0" smtClean="0"/>
              <a:t>Non-volatile Memories:</a:t>
            </a:r>
          </a:p>
          <a:p>
            <a:pPr lvl="1"/>
            <a:r>
              <a:rPr lang="de-DE" dirty="0" smtClean="0"/>
              <a:t>24xx128, 24AA02x (both I²C)</a:t>
            </a:r>
          </a:p>
          <a:p>
            <a:r>
              <a:rPr lang="de-DE" dirty="0" smtClean="0"/>
              <a:t>Clock Snthesizers:</a:t>
            </a:r>
          </a:p>
          <a:p>
            <a:pPr lvl="1"/>
            <a:r>
              <a:rPr lang="de-DE" dirty="0" smtClean="0"/>
              <a:t>SI57x, SI5380 (soon™)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6007608" y="1648853"/>
            <a:ext cx="5236655" cy="4759147"/>
          </a:xfrm>
        </p:spPr>
        <p:txBody>
          <a:bodyPr/>
          <a:lstStyle/>
          <a:p>
            <a:r>
              <a:rPr lang="de-DE" dirty="0" smtClean="0"/>
              <a:t>GPIO Extenders / Multiplexers:</a:t>
            </a:r>
          </a:p>
          <a:p>
            <a:pPr lvl="1"/>
            <a:r>
              <a:rPr lang="de-DE" dirty="0" smtClean="0"/>
              <a:t>ADG728-9, PCAxxxx, TCAxxxx</a:t>
            </a:r>
          </a:p>
          <a:p>
            <a:r>
              <a:rPr lang="de-DE" dirty="0" smtClean="0"/>
              <a:t>Digital-Analog-Converters:</a:t>
            </a:r>
          </a:p>
          <a:p>
            <a:pPr lvl="1"/>
            <a:r>
              <a:rPr lang="de-DE" dirty="0" smtClean="0"/>
              <a:t>DACx578, DAC121C08x, MAX538x</a:t>
            </a:r>
          </a:p>
          <a:p>
            <a:r>
              <a:rPr lang="de-DE" dirty="0" smtClean="0"/>
              <a:t>Analog-Digital-Converters:</a:t>
            </a:r>
          </a:p>
          <a:p>
            <a:pPr lvl="1"/>
            <a:r>
              <a:rPr lang="de-DE" dirty="0" smtClean="0"/>
              <a:t>MAX1161x, MAX1164x, LTC230x</a:t>
            </a:r>
          </a:p>
          <a:p>
            <a:r>
              <a:rPr lang="de-DE" dirty="0" smtClean="0"/>
              <a:t>Digital Potentiometer: </a:t>
            </a:r>
            <a:r>
              <a:rPr lang="de-DE" b="0" dirty="0" smtClean="0">
                <a:solidFill>
                  <a:schemeClr val="tx1"/>
                </a:solidFill>
              </a:rPr>
              <a:t>AD528x</a:t>
            </a:r>
          </a:p>
          <a:p>
            <a:r>
              <a:rPr lang="de-DE" dirty="0" smtClean="0"/>
              <a:t>Monitoring and Control devices: </a:t>
            </a:r>
            <a:r>
              <a:rPr lang="de-DE" b="0" dirty="0" smtClean="0">
                <a:solidFill>
                  <a:schemeClr val="tx1"/>
                </a:solidFill>
              </a:rPr>
              <a:t>AMC7812, INA233</a:t>
            </a:r>
          </a:p>
          <a:p>
            <a:r>
              <a:rPr lang="de-DE" dirty="0" smtClean="0"/>
              <a:t>Temperature Sensors: </a:t>
            </a:r>
            <a:r>
              <a:rPr lang="de-DE" b="0" dirty="0" smtClean="0">
                <a:solidFill>
                  <a:schemeClr val="tx1"/>
                </a:solidFill>
              </a:rPr>
              <a:t>TMP10x, TMP42x</a:t>
            </a:r>
            <a:endParaRPr lang="de-DE" b="0" dirty="0">
              <a:solidFill>
                <a:schemeClr val="tx1"/>
              </a:solidFill>
            </a:endParaRPr>
          </a:p>
          <a:p>
            <a:endParaRPr lang="de-DE" dirty="0" smtClean="0"/>
          </a:p>
          <a:p>
            <a:r>
              <a:rPr lang="de-DE" dirty="0" smtClean="0"/>
              <a:t>More to come as needed by projects.</a:t>
            </a:r>
            <a:endParaRPr lang="de-DE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Devices Supported by the VISrv – 50 and growing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6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2356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Multi-threading / multi-processing: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Python GIL prevents real multi-threading.</a:t>
            </a:r>
            <a:br>
              <a:rPr lang="de-DE" b="0" dirty="0" smtClean="0">
                <a:solidFill>
                  <a:schemeClr val="tx1"/>
                </a:solidFill>
              </a:rPr>
            </a:br>
            <a:r>
              <a:rPr lang="de-DE" b="0" dirty="0" smtClean="0">
                <a:solidFill>
                  <a:schemeClr val="tx1"/>
                </a:solidFill>
              </a:rPr>
              <a:t>Localized data store prevents multi-process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ecure and usable data archiving: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Changes are written to file – okayish.</a:t>
            </a:r>
            <a:br>
              <a:rPr lang="de-DE" b="0" dirty="0" smtClean="0">
                <a:solidFill>
                  <a:schemeClr val="tx1"/>
                </a:solidFill>
              </a:rPr>
            </a:br>
            <a:r>
              <a:rPr lang="de-DE" b="0" dirty="0" smtClean="0">
                <a:solidFill>
                  <a:schemeClr val="tx1"/>
                </a:solidFill>
              </a:rPr>
              <a:t>Analyzing a week or month of data takes a lot of pre-processing tim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No real API to work with the system: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Current access to server data either handled by GUI (behind the scenes) or by expert (me) who speaks the servers JSON-jarg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Documentation, Documentation, Document...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A large number of classes and functions are documented in code. Also available as HTML page via sphinx and GitLabCI/C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285750" indent="-285750">
              <a:buBlip>
                <a:blip r:embed="rId2"/>
              </a:buBlip>
            </a:pPr>
            <a:r>
              <a:rPr lang="de-DE" dirty="0" smtClean="0"/>
              <a:t>Introduce additional communication layer: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Move communication out of the server tasks.</a:t>
            </a:r>
            <a:br>
              <a:rPr lang="de-DE" b="0" dirty="0" smtClean="0">
                <a:solidFill>
                  <a:schemeClr val="tx1"/>
                </a:solidFill>
              </a:rPr>
            </a:br>
            <a:r>
              <a:rPr lang="de-DE" b="0" dirty="0" smtClean="0">
                <a:solidFill>
                  <a:schemeClr val="tx1"/>
                </a:solidFill>
              </a:rPr>
              <a:t>Optimize data handling/communication.</a:t>
            </a:r>
          </a:p>
          <a:p>
            <a:pPr marL="285750" indent="-285750">
              <a:buBlip>
                <a:blip r:embed="rId2"/>
              </a:buBlip>
            </a:pPr>
            <a:r>
              <a:rPr lang="de-DE" dirty="0" smtClean="0"/>
              <a:t>In new process linked to the comms layer: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Reduce workload of server for archiving.</a:t>
            </a:r>
            <a:br>
              <a:rPr lang="de-DE" b="0" dirty="0" smtClean="0">
                <a:solidFill>
                  <a:schemeClr val="tx1"/>
                </a:solidFill>
              </a:rPr>
            </a:br>
            <a:r>
              <a:rPr lang="de-DE" b="0" dirty="0" smtClean="0">
                <a:solidFill>
                  <a:schemeClr val="tx1"/>
                </a:solidFill>
              </a:rPr>
              <a:t>Connect to easier or optimized data model e.g. </a:t>
            </a:r>
            <a:r>
              <a:rPr lang="de-DE" b="0" dirty="0">
                <a:solidFill>
                  <a:schemeClr val="tx1"/>
                </a:solidFill>
              </a:rPr>
              <a:t>d</a:t>
            </a:r>
            <a:r>
              <a:rPr lang="de-DE" b="0" dirty="0" smtClean="0">
                <a:solidFill>
                  <a:schemeClr val="tx1"/>
                </a:solidFill>
              </a:rPr>
              <a:t>ata base.</a:t>
            </a:r>
          </a:p>
          <a:p>
            <a:pPr marL="285750" indent="-285750">
              <a:buBlip>
                <a:blip r:embed="rId2"/>
              </a:buBlip>
            </a:pPr>
            <a:r>
              <a:rPr lang="de-DE" dirty="0" smtClean="0"/>
              <a:t>Improve User Experience via a new API: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Specifics and scope has to be defined.</a:t>
            </a:r>
            <a:br>
              <a:rPr lang="de-DE" b="0" dirty="0" smtClean="0">
                <a:solidFill>
                  <a:schemeClr val="tx1"/>
                </a:solidFill>
              </a:rPr>
            </a:br>
            <a:r>
              <a:rPr lang="de-DE" b="0" dirty="0" smtClean="0">
                <a:solidFill>
                  <a:schemeClr val="tx1"/>
                </a:solidFill>
              </a:rPr>
              <a:t>Might come as part of the new comms layer (e.g. REST API) or its own framework.</a:t>
            </a:r>
          </a:p>
          <a:p>
            <a:pPr marL="285750" indent="-285750">
              <a:buBlip>
                <a:blip r:embed="rId2"/>
              </a:buBlip>
            </a:pPr>
            <a:r>
              <a:rPr lang="de-DE" dirty="0" smtClean="0"/>
              <a:t>Write documentation for Users:</a:t>
            </a:r>
            <a:br>
              <a:rPr lang="de-DE" dirty="0" smtClean="0"/>
            </a:br>
            <a:r>
              <a:rPr lang="de-DE" b="0" dirty="0" smtClean="0">
                <a:solidFill>
                  <a:schemeClr val="tx1"/>
                </a:solidFill>
              </a:rPr>
              <a:t>Describe usual usage scenarios, document features and how to use them, give examples and tips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hort-comings and space for future improvements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7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868714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3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947739" y="1648853"/>
            <a:ext cx="10296524" cy="476782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DE" dirty="0" smtClean="0"/>
              <a:t>Questions...?</a:t>
            </a:r>
          </a:p>
          <a:p>
            <a:pPr>
              <a:lnSpc>
                <a:spcPct val="100000"/>
              </a:lnSpc>
            </a:pPr>
            <a:endParaRPr lang="de-DE" dirty="0"/>
          </a:p>
          <a:p>
            <a:pPr>
              <a:lnSpc>
                <a:spcPct val="100000"/>
              </a:lnSpc>
            </a:pPr>
            <a:r>
              <a:rPr lang="de-DE" dirty="0" smtClean="0"/>
              <a:t>Suggestions...?</a:t>
            </a:r>
          </a:p>
          <a:p>
            <a:pPr>
              <a:lnSpc>
                <a:spcPct val="100000"/>
              </a:lnSpc>
            </a:pPr>
            <a:endParaRPr lang="de-DE" dirty="0"/>
          </a:p>
          <a:p>
            <a:pPr>
              <a:lnSpc>
                <a:spcPct val="100000"/>
              </a:lnSpc>
            </a:pPr>
            <a:r>
              <a:rPr lang="de-DE" dirty="0" smtClean="0"/>
              <a:t>Solutions...?</a:t>
            </a:r>
          </a:p>
          <a:p>
            <a:pPr>
              <a:lnSpc>
                <a:spcPct val="100000"/>
              </a:lnSpc>
            </a:pPr>
            <a:endParaRPr lang="de-DE" dirty="0"/>
          </a:p>
          <a:p>
            <a:pPr>
              <a:lnSpc>
                <a:spcPct val="100000"/>
              </a:lnSpc>
            </a:pPr>
            <a:r>
              <a:rPr lang="de-DE" dirty="0" smtClean="0"/>
              <a:t>Wishes...?</a:t>
            </a:r>
          </a:p>
          <a:p>
            <a:pPr>
              <a:lnSpc>
                <a:spcPct val="100000"/>
              </a:lnSpc>
            </a:pPr>
            <a:endParaRPr lang="de-DE" dirty="0"/>
          </a:p>
          <a:p>
            <a:pPr>
              <a:lnSpc>
                <a:spcPct val="100000"/>
              </a:lnSpc>
            </a:pPr>
            <a:r>
              <a:rPr lang="de-DE" dirty="0" smtClean="0"/>
              <a:t>Expectations...?</a:t>
            </a:r>
          </a:p>
          <a:p>
            <a:pPr>
              <a:lnSpc>
                <a:spcPct val="100000"/>
              </a:lnSpc>
            </a:pPr>
            <a:endParaRPr lang="de-DE" dirty="0"/>
          </a:p>
          <a:p>
            <a:pPr>
              <a:lnSpc>
                <a:spcPct val="100000"/>
              </a:lnSpc>
            </a:pPr>
            <a:r>
              <a:rPr lang="de-DE" dirty="0" smtClean="0"/>
              <a:t>Hopes and dreams...?</a:t>
            </a:r>
            <a:endParaRPr lang="de-DE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t‘s Time to wake up – yes, I am done for the moment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1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69F0412B-F929-DD4C-8D99-4244E9D5E62B}"/>
              </a:ext>
            </a:extLst>
          </p:cNvPr>
          <p:cNvSpPr txBox="1">
            <a:spLocks/>
          </p:cNvSpPr>
          <p:nvPr/>
        </p:nvSpPr>
        <p:spPr>
          <a:xfrm>
            <a:off x="5980177" y="1648853"/>
            <a:ext cx="5416486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b="0" spc="50" dirty="0"/>
              <a:t>For </a:t>
            </a:r>
            <a:r>
              <a:rPr lang="en-US" b="0" spc="50" dirty="0" smtClean="0"/>
              <a:t>later questions </a:t>
            </a:r>
            <a:r>
              <a:rPr lang="en-US" b="0" spc="50" dirty="0"/>
              <a:t>please contact</a:t>
            </a:r>
            <a:r>
              <a:rPr lang="en-US" b="0" spc="50" dirty="0" smtClean="0"/>
              <a:t>:</a:t>
            </a:r>
          </a:p>
          <a:p>
            <a:pPr>
              <a:lnSpc>
                <a:spcPct val="100000"/>
              </a:lnSpc>
            </a:pPr>
            <a:r>
              <a:rPr lang="de-DE" dirty="0" smtClean="0"/>
              <a:t>Max Planck Society – Semiconductor Laboratory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endParaRPr lang="de-DE" dirty="0" smtClean="0"/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de-DE" dirty="0" smtClean="0"/>
              <a:t>Martin Hensel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Otto-Hahn-Ring 6 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de-DE" dirty="0" smtClean="0"/>
              <a:t>81739 München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Tel.: +49 (0)89 839400-0 or -93</a:t>
            </a:r>
            <a:br>
              <a:rPr lang="de-DE" dirty="0" smtClean="0"/>
            </a:br>
            <a:r>
              <a:rPr lang="de-DE" dirty="0" smtClean="0"/>
              <a:t>Fax: +49 (0)89 839400-11</a:t>
            </a:r>
          </a:p>
          <a:p>
            <a:pPr lvl="1"/>
            <a:endParaRPr lang="de-DE" dirty="0" smtClean="0"/>
          </a:p>
          <a:p>
            <a:pPr lvl="1"/>
            <a:r>
              <a:rPr lang="de-DE" dirty="0" smtClean="0"/>
              <a:t>E-Mail: </a:t>
            </a:r>
            <a:r>
              <a:rPr lang="de-DE" dirty="0" smtClean="0">
                <a:hlinkClick r:id="rId2"/>
              </a:rPr>
              <a:t>hensel@hll.mpg.de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Internet: </a:t>
            </a:r>
            <a:r>
              <a:rPr lang="de-DE" dirty="0" smtClean="0">
                <a:hlinkClick r:id="rId3"/>
              </a:rPr>
              <a:t>www.hll.mpg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701788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The Virtual Instrument Server</a:t>
            </a:r>
          </a:p>
          <a:p>
            <a:pPr lvl="1"/>
            <a:r>
              <a:rPr lang="de-DE" dirty="0" smtClean="0"/>
              <a:t>		And its role in the Virtual Instrument Su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Components of the Virtual Instrument Server</a:t>
            </a:r>
          </a:p>
          <a:p>
            <a:pPr lvl="1"/>
            <a:r>
              <a:rPr lang="de-DE" dirty="0"/>
              <a:t>	</a:t>
            </a:r>
            <a:r>
              <a:rPr lang="de-DE" dirty="0" smtClean="0"/>
              <a:t>	Building blocks to represent an (almost) arbitrary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 smtClean="0"/>
              <a:t>Short-comings and future plans</a:t>
            </a:r>
          </a:p>
          <a:p>
            <a:pPr lvl="1"/>
            <a:r>
              <a:rPr lang="de-DE" dirty="0"/>
              <a:t>	</a:t>
            </a:r>
            <a:r>
              <a:rPr lang="de-DE" dirty="0" smtClean="0"/>
              <a:t>	What and how to improve in the near futur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utli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2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9767" y="2277115"/>
            <a:ext cx="3511296" cy="35112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6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5720916" cy="4759147"/>
          </a:xfrm>
        </p:spPr>
        <p:txBody>
          <a:bodyPr/>
          <a:lstStyle/>
          <a:p>
            <a:r>
              <a:rPr lang="de-DE" dirty="0" smtClean="0"/>
              <a:t>Many lab and test setups share a few common aspects: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A random number of devices..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connected arbitrarily to some system..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which combines them in a meaningful manner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A multitude of interfaces to communicate and..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even the same interface may be used in different ways by different devices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The tester has to monitor and/or control the devices depending on the test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The setup may change at the drop of a hat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de-DE" dirty="0"/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And someone has to write a software for that..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again and again for each new setup.</a:t>
            </a:r>
            <a:endParaRPr lang="de-DE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95"/>
          <a:stretch/>
        </p:blipFill>
        <p:spPr>
          <a:xfrm>
            <a:off x="7029847" y="1648853"/>
            <a:ext cx="4254676" cy="4759885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ro to visrv – The Visio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3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9" name="TextBox 8"/>
          <p:cNvSpPr txBox="1"/>
          <p:nvPr/>
        </p:nvSpPr>
        <p:spPr>
          <a:xfrm rot="16200000">
            <a:off x="10051718" y="4918906"/>
            <a:ext cx="2721899" cy="256289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</a:rPr>
              <a:t>SPIX – Single Pixel measurement setup</a:t>
            </a:r>
          </a:p>
        </p:txBody>
      </p:sp>
    </p:spTree>
    <p:extLst>
      <p:ext uri="{BB962C8B-B14F-4D97-AF65-F5344CB8AC3E}">
        <p14:creationId xmlns:p14="http://schemas.microsoft.com/office/powerpoint/2010/main" val="418499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5358170" cy="4759147"/>
          </a:xfrm>
        </p:spPr>
        <p:txBody>
          <a:bodyPr/>
          <a:lstStyle/>
          <a:p>
            <a:r>
              <a:rPr lang="de-DE" dirty="0" smtClean="0"/>
              <a:t>The Vision:</a:t>
            </a:r>
          </a:p>
          <a:p>
            <a:pPr lvl="1">
              <a:lnSpc>
                <a:spcPct val="100000"/>
              </a:lnSpc>
            </a:pPr>
            <a:r>
              <a:rPr lang="de-DE" dirty="0" smtClean="0"/>
              <a:t>„One tool to rule them all,</a:t>
            </a:r>
            <a:br>
              <a:rPr lang="de-DE" dirty="0" smtClean="0"/>
            </a:br>
            <a:r>
              <a:rPr lang="de-DE" dirty="0" smtClean="0"/>
              <a:t>	One tool to find them,</a:t>
            </a:r>
            <a:br>
              <a:rPr lang="de-DE" dirty="0" smtClean="0"/>
            </a:br>
            <a:r>
              <a:rPr lang="de-DE" dirty="0" smtClean="0"/>
              <a:t> One tool to bring them all,</a:t>
            </a:r>
            <a:br>
              <a:rPr lang="de-DE" dirty="0" smtClean="0"/>
            </a:br>
            <a:r>
              <a:rPr lang="de-DE" dirty="0" smtClean="0"/>
              <a:t>	And in the lab to bind them“</a:t>
            </a:r>
            <a:br>
              <a:rPr lang="de-DE" dirty="0" smtClean="0"/>
            </a:br>
            <a:r>
              <a:rPr lang="de-DE" sz="1000" dirty="0" smtClean="0">
                <a:solidFill>
                  <a:schemeClr val="bg1">
                    <a:lumMod val="65000"/>
                  </a:schemeClr>
                </a:solidFill>
              </a:rPr>
              <a:t>– J.R.R. Tolkien, rough translation</a:t>
            </a:r>
          </a:p>
          <a:p>
            <a:pPr lvl="1">
              <a:lnSpc>
                <a:spcPct val="100000"/>
              </a:lnSpc>
            </a:pPr>
            <a:endParaRPr lang="de-DE" dirty="0" smtClean="0"/>
          </a:p>
          <a:p>
            <a:pPr>
              <a:lnSpc>
                <a:spcPct val="100000"/>
              </a:lnSpc>
            </a:pPr>
            <a:r>
              <a:rPr lang="de-DE" dirty="0" smtClean="0"/>
              <a:t>Create a software layer that: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Abstracts all the device peculiarities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/>
              <a:t>Provides a single point of access </a:t>
            </a:r>
            <a:r>
              <a:rPr lang="de-DE" dirty="0" smtClean="0"/>
              <a:t>for </a:t>
            </a:r>
            <a:r>
              <a:rPr lang="de-DE" dirty="0"/>
              <a:t>the tester.</a:t>
            </a:r>
            <a:endParaRPr lang="de-DE" dirty="0" smtClean="0"/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Allows to mirror any setup in software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Comes with a graphical user interface.</a:t>
            </a:r>
          </a:p>
          <a:p>
            <a:pPr marL="285750" lvl="1" indent="-28575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de-DE" dirty="0" smtClean="0"/>
              <a:t>Can be extended with new features as needed.</a:t>
            </a:r>
            <a:endParaRPr lang="de-DE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sz="half" idx="2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01" t="12140" r="18275" b="6702"/>
          <a:stretch/>
        </p:blipFill>
        <p:spPr>
          <a:xfrm rot="5400000">
            <a:off x="6777612" y="2601962"/>
            <a:ext cx="4759147" cy="2852929"/>
          </a:xfr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Intro to visrv – The Vision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4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11" name="TextBox 10"/>
          <p:cNvSpPr txBox="1"/>
          <p:nvPr/>
        </p:nvSpPr>
        <p:spPr>
          <a:xfrm rot="16200000">
            <a:off x="8421200" y="3950597"/>
            <a:ext cx="4619854" cy="294953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200" dirty="0" smtClean="0">
                <a:solidFill>
                  <a:schemeClr val="bg1">
                    <a:lumMod val="65000"/>
                  </a:schemeClr>
                </a:solidFill>
              </a:rPr>
              <a:t>MHM &amp; MPM – EDet housekeeping and power conditioning modules</a:t>
            </a:r>
          </a:p>
        </p:txBody>
      </p:sp>
    </p:spTree>
    <p:extLst>
      <p:ext uri="{BB962C8B-B14F-4D97-AF65-F5344CB8AC3E}">
        <p14:creationId xmlns:p14="http://schemas.microsoft.com/office/powerpoint/2010/main" val="35626771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lvl="1"/>
            <a:r>
              <a:rPr lang="de-DE" dirty="0" smtClean="0"/>
              <a:t>VI Server (with drivers) and VASIC (for ASICs)</a:t>
            </a:r>
          </a:p>
          <a:p>
            <a:pPr lvl="1"/>
            <a:r>
              <a:rPr lang="de-DE" dirty="0" smtClean="0"/>
              <a:t>VI Server: internal, file system</a:t>
            </a:r>
          </a:p>
          <a:p>
            <a:pPr lvl="1"/>
            <a:r>
              <a:rPr lang="de-DE" dirty="0" smtClean="0"/>
              <a:t>VI Server: TCP/IP to Identifiers</a:t>
            </a:r>
          </a:p>
          <a:p>
            <a:pPr lvl="1"/>
            <a:r>
              <a:rPr lang="de-DE" dirty="0" smtClean="0"/>
              <a:t>VI Server: Sequence, Condition</a:t>
            </a:r>
          </a:p>
          <a:p>
            <a:pPr lvl="1"/>
            <a:r>
              <a:rPr lang="de-DE" dirty="0" smtClean="0"/>
              <a:t>VI Manager, Client and VASIC</a:t>
            </a:r>
          </a:p>
          <a:p>
            <a:pPr lvl="1"/>
            <a:r>
              <a:rPr lang="de-DE" dirty="0" smtClean="0"/>
              <a:t>VI Server &amp; Client (filesystem)</a:t>
            </a:r>
          </a:p>
          <a:p>
            <a:pPr lvl="1"/>
            <a:r>
              <a:rPr lang="de-DE" dirty="0" smtClean="0"/>
              <a:t>VI Log Viewer</a:t>
            </a:r>
          </a:p>
          <a:p>
            <a:pPr lvl="1"/>
            <a:r>
              <a:rPr lang="de-DE" dirty="0" smtClean="0"/>
              <a:t>VI Manager modules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2"/>
          </p:nvPr>
        </p:nvSpPr>
        <p:spPr>
          <a:xfrm>
            <a:off x="4368800" y="2097088"/>
            <a:ext cx="3454400" cy="4310912"/>
          </a:xfrm>
        </p:spPr>
        <p:txBody>
          <a:bodyPr/>
          <a:lstStyle/>
          <a:p>
            <a:pPr lvl="1"/>
            <a:r>
              <a:rPr lang="de-DE" b="1" dirty="0" smtClean="0">
                <a:solidFill>
                  <a:schemeClr val="tx2"/>
                </a:solidFill>
              </a:rPr>
              <a:t>Communicate with power supplies and ASICs</a:t>
            </a:r>
          </a:p>
          <a:p>
            <a:pPr lvl="1"/>
            <a:r>
              <a:rPr lang="de-DE" b="1" dirty="0" smtClean="0">
                <a:solidFill>
                  <a:schemeClr val="tx2"/>
                </a:solidFill>
              </a:rPr>
              <a:t>Store device state, settings</a:t>
            </a:r>
          </a:p>
          <a:p>
            <a:pPr lvl="1"/>
            <a:r>
              <a:rPr lang="de-DE" b="1" dirty="0" smtClean="0">
                <a:solidFill>
                  <a:schemeClr val="tx2"/>
                </a:solidFill>
              </a:rPr>
              <a:t>Access point for software, user</a:t>
            </a:r>
          </a:p>
          <a:p>
            <a:pPr lvl="1"/>
            <a:r>
              <a:rPr lang="de-DE" b="1" dirty="0" smtClean="0">
                <a:solidFill>
                  <a:schemeClr val="tx2"/>
                </a:solidFill>
              </a:rPr>
              <a:t>Process Automation, Controling</a:t>
            </a:r>
          </a:p>
          <a:p>
            <a:pPr lvl="1"/>
            <a:r>
              <a:rPr lang="de-DE" b="1" dirty="0" smtClean="0">
                <a:solidFill>
                  <a:schemeClr val="tx2"/>
                </a:solidFill>
              </a:rPr>
              <a:t>Graphical User Interface</a:t>
            </a:r>
          </a:p>
          <a:p>
            <a:pPr lvl="1"/>
            <a:r>
              <a:rPr lang="de-DE" b="1" dirty="0" smtClean="0">
                <a:solidFill>
                  <a:schemeClr val="tx2"/>
                </a:solidFill>
              </a:rPr>
              <a:t>Data archiving</a:t>
            </a:r>
          </a:p>
          <a:p>
            <a:pPr lvl="1"/>
            <a:r>
              <a:rPr lang="de-DE" b="1" dirty="0" smtClean="0">
                <a:solidFill>
                  <a:schemeClr val="tx2"/>
                </a:solidFill>
              </a:rPr>
              <a:t>Data plotting</a:t>
            </a:r>
          </a:p>
          <a:p>
            <a:pPr lvl="1"/>
            <a:r>
              <a:rPr lang="de-DE" b="1" dirty="0" smtClean="0">
                <a:solidFill>
                  <a:schemeClr val="tx2"/>
                </a:solidFill>
              </a:rPr>
              <a:t>System interconnectivity</a:t>
            </a:r>
            <a:endParaRPr lang="de-DE" b="1" dirty="0">
              <a:solidFill>
                <a:schemeClr val="tx2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Virtual Instrument Suit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 smtClean="0"/>
              <a:t>The Virtual Instrument Server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5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sp>
        <p:nvSpPr>
          <p:cNvPr id="8" name="Content Placeholder 7"/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r>
              <a:rPr lang="de-DE" dirty="0" smtClean="0"/>
              <a:t>VI Suite</a:t>
            </a:r>
            <a:endParaRPr lang="de-DE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12"/>
          </p:nvPr>
        </p:nvSpPr>
        <p:spPr>
          <a:xfrm>
            <a:off x="4368800" y="1648853"/>
            <a:ext cx="3454400" cy="448233"/>
          </a:xfrm>
        </p:spPr>
        <p:txBody>
          <a:bodyPr/>
          <a:lstStyle/>
          <a:p>
            <a:r>
              <a:rPr lang="de-DE" dirty="0" smtClean="0"/>
              <a:t>Tasks</a:t>
            </a:r>
            <a:endParaRPr lang="de-DE" dirty="0"/>
          </a:p>
        </p:txBody>
      </p:sp>
      <p:sp>
        <p:nvSpPr>
          <p:cNvPr id="10" name="Content Placeholder 9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pPr lvl="1"/>
            <a:r>
              <a:rPr lang="de-DE" dirty="0" smtClean="0"/>
              <a:t>FPGA based (LMU power supply, DHE for ASICs)</a:t>
            </a:r>
          </a:p>
          <a:p>
            <a:pPr lvl="1"/>
            <a:r>
              <a:rPr lang="de-DE" dirty="0" smtClean="0"/>
              <a:t>EPICS server, config DB</a:t>
            </a:r>
          </a:p>
          <a:p>
            <a:pPr lvl="1"/>
            <a:r>
              <a:rPr lang="de-DE" dirty="0" smtClean="0"/>
              <a:t>EPICS: network/local to PVs</a:t>
            </a:r>
          </a:p>
          <a:p>
            <a:pPr lvl="1"/>
            <a:r>
              <a:rPr lang="de-DE" dirty="0" smtClean="0"/>
              <a:t>IOCs on lab or control PC</a:t>
            </a:r>
          </a:p>
          <a:p>
            <a:pPr lvl="1"/>
            <a:r>
              <a:rPr lang="de-DE" dirty="0" smtClean="0"/>
              <a:t>CS </a:t>
            </a:r>
            <a:r>
              <a:rPr lang="de-DE" dirty="0" smtClean="0"/>
              <a:t>Studio/Phoebus, </a:t>
            </a:r>
            <a:r>
              <a:rPr lang="de-DE" dirty="0" smtClean="0"/>
              <a:t>OPIs</a:t>
            </a:r>
          </a:p>
          <a:p>
            <a:pPr lvl="1"/>
            <a:r>
              <a:rPr lang="de-DE" dirty="0" smtClean="0"/>
              <a:t>EPICS server archive (db)</a:t>
            </a:r>
          </a:p>
          <a:p>
            <a:pPr lvl="1"/>
            <a:r>
              <a:rPr lang="de-DE" dirty="0" smtClean="0"/>
              <a:t>CS Studio Archive viewer</a:t>
            </a:r>
          </a:p>
          <a:p>
            <a:pPr lvl="1"/>
            <a:r>
              <a:rPr lang="de-DE" dirty="0" smtClean="0"/>
              <a:t>IOCs</a:t>
            </a:r>
            <a:endParaRPr lang="de-DE" dirty="0"/>
          </a:p>
        </p:txBody>
      </p:sp>
      <p:sp>
        <p:nvSpPr>
          <p:cNvPr id="11" name="Content Placeholder 10"/>
          <p:cNvSpPr>
            <a:spLocks noGrp="1"/>
          </p:cNvSpPr>
          <p:nvPr>
            <p:ph sz="half" idx="14"/>
          </p:nvPr>
        </p:nvSpPr>
        <p:spPr/>
        <p:txBody>
          <a:bodyPr/>
          <a:lstStyle/>
          <a:p>
            <a:r>
              <a:rPr lang="de-DE" dirty="0" smtClean="0"/>
              <a:t>PXD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74801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uiExpand="1" build="p"/>
      <p:bldP spid="3" grpId="0" uiExpand="1" build="p"/>
      <p:bldP spid="10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Logical group of devic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/>
              <a:t>Stores device </a:t>
            </a:r>
            <a:r>
              <a:rPr lang="de-DE" dirty="0" smtClean="0"/>
              <a:t>instances that belong together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efines the initialization procedur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efines the active housekeeping cycl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isconnects all devices if one goes missing.</a:t>
            </a:r>
            <a:endParaRPr lang="de-DE" dirty="0"/>
          </a:p>
          <a:p>
            <a:endParaRPr lang="de-DE" smtClean="0"/>
          </a:p>
          <a:p>
            <a:endParaRPr lang="de-DE" dirty="0" smtClean="0"/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board of multiple IC controlled via a shared I²C bu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Four bench power supplies connected via LAN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Cluster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6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32" name="Group 31"/>
          <p:cNvGrpSpPr/>
          <p:nvPr/>
        </p:nvGrpSpPr>
        <p:grpSpPr>
          <a:xfrm>
            <a:off x="6394099" y="1648853"/>
            <a:ext cx="3027311" cy="3459490"/>
            <a:chOff x="6677254" y="1648854"/>
            <a:chExt cx="3563061" cy="4752000"/>
          </a:xfrm>
        </p:grpSpPr>
        <p:sp>
          <p:nvSpPr>
            <p:cNvPr id="47" name="Rectangle 46"/>
            <p:cNvSpPr/>
            <p:nvPr/>
          </p:nvSpPr>
          <p:spPr>
            <a:xfrm>
              <a:off x="6784315" y="1648854"/>
              <a:ext cx="3456000" cy="46522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677254" y="1758910"/>
              <a:ext cx="3456000" cy="4641944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luster(s)</a:t>
              </a: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8122676" y="2025718"/>
            <a:ext cx="1103689" cy="1453459"/>
            <a:chOff x="8126765" y="2025718"/>
            <a:chExt cx="1103689" cy="1453459"/>
          </a:xfrm>
        </p:grpSpPr>
        <p:sp>
          <p:nvSpPr>
            <p:cNvPr id="54" name="Rectangle 53"/>
            <p:cNvSpPr/>
            <p:nvPr/>
          </p:nvSpPr>
          <p:spPr>
            <a:xfrm>
              <a:off x="8126765" y="2025718"/>
              <a:ext cx="1103689" cy="14534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Initialization Procedure</a:t>
              </a:r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8219279" y="2424832"/>
              <a:ext cx="917750" cy="964261"/>
              <a:chOff x="8219279" y="2424832"/>
              <a:chExt cx="917750" cy="964261"/>
            </a:xfrm>
          </p:grpSpPr>
          <p:sp>
            <p:nvSpPr>
              <p:cNvPr id="56" name="Rectangle 55"/>
              <p:cNvSpPr/>
              <p:nvPr/>
            </p:nvSpPr>
            <p:spPr>
              <a:xfrm>
                <a:off x="8308045" y="2424832"/>
                <a:ext cx="828984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>
              <a:xfrm>
                <a:off x="8219279" y="2507093"/>
                <a:ext cx="839778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Poll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alibrat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e..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162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A component accessed via a single interfac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Stores connection status and sub component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Knows the capabilities of the physical devic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efines the steps initialize the device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an hold multiple channels if the device supports them.</a:t>
            </a:r>
            <a:endParaRPr lang="de-DE" dirty="0"/>
          </a:p>
          <a:p>
            <a:endParaRPr lang="de-DE" dirty="0" smtClean="0"/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temperature measurement chip, an EEPROM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complex housekeeping and monitoring chip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single bench power suppl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Devic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7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32" name="Group 31"/>
          <p:cNvGrpSpPr/>
          <p:nvPr/>
        </p:nvGrpSpPr>
        <p:grpSpPr>
          <a:xfrm>
            <a:off x="6394099" y="1648853"/>
            <a:ext cx="3027311" cy="3459490"/>
            <a:chOff x="6677254" y="1648854"/>
            <a:chExt cx="3563061" cy="4752000"/>
          </a:xfrm>
        </p:grpSpPr>
        <p:sp>
          <p:nvSpPr>
            <p:cNvPr id="47" name="Rectangle 46"/>
            <p:cNvSpPr/>
            <p:nvPr/>
          </p:nvSpPr>
          <p:spPr>
            <a:xfrm>
              <a:off x="6784315" y="1648854"/>
              <a:ext cx="3456000" cy="46522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677254" y="1758910"/>
              <a:ext cx="3456000" cy="4641944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luster(s)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475903" y="2025718"/>
            <a:ext cx="1559935" cy="3011767"/>
            <a:chOff x="1072578" y="2055523"/>
            <a:chExt cx="2412222" cy="4248000"/>
          </a:xfrm>
        </p:grpSpPr>
        <p:sp>
          <p:nvSpPr>
            <p:cNvPr id="45" name="Rectangle 44"/>
            <p:cNvSpPr/>
            <p:nvPr/>
          </p:nvSpPr>
          <p:spPr>
            <a:xfrm>
              <a:off x="1180800" y="2055523"/>
              <a:ext cx="2304000" cy="4140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072578" y="2163523"/>
              <a:ext cx="2304000" cy="4140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Device(s)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22676" y="2025718"/>
            <a:ext cx="1103689" cy="1453459"/>
            <a:chOff x="8126765" y="2025718"/>
            <a:chExt cx="1103689" cy="1453459"/>
          </a:xfrm>
        </p:grpSpPr>
        <p:sp>
          <p:nvSpPr>
            <p:cNvPr id="50" name="Rectangle 49"/>
            <p:cNvSpPr/>
            <p:nvPr/>
          </p:nvSpPr>
          <p:spPr>
            <a:xfrm>
              <a:off x="8126765" y="2025718"/>
              <a:ext cx="1103689" cy="14534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Initialization Procedur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219279" y="2424832"/>
              <a:ext cx="917750" cy="964261"/>
              <a:chOff x="8219279" y="2424832"/>
              <a:chExt cx="917750" cy="964261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8308045" y="2424832"/>
                <a:ext cx="828984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8219279" y="2507093"/>
                <a:ext cx="839778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Poll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alibrat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e..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836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Holds information about the „moving“ parts of a device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ctual value: The value as read back from the device (read-only, updated by device answers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Requested value: The value that is supposed to be set in the device (writable by user to trigger changes in the device)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vailable in different complexities: Bare bones, with additional enable/disable option, with scaling from arbitrary to readable units, ...</a:t>
            </a:r>
            <a:endParaRPr lang="de-DE" dirty="0"/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hannel six of a digital-to-analog converter chip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The voltage setting of a bench power supply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Channel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8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32" name="Group 31"/>
          <p:cNvGrpSpPr/>
          <p:nvPr/>
        </p:nvGrpSpPr>
        <p:grpSpPr>
          <a:xfrm>
            <a:off x="6394099" y="1648853"/>
            <a:ext cx="3027311" cy="3459490"/>
            <a:chOff x="6677254" y="1648854"/>
            <a:chExt cx="3563061" cy="4752000"/>
          </a:xfrm>
        </p:grpSpPr>
        <p:sp>
          <p:nvSpPr>
            <p:cNvPr id="47" name="Rectangle 46"/>
            <p:cNvSpPr/>
            <p:nvPr/>
          </p:nvSpPr>
          <p:spPr>
            <a:xfrm>
              <a:off x="6784315" y="1648854"/>
              <a:ext cx="3456000" cy="46522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677254" y="1758910"/>
              <a:ext cx="3456000" cy="4641944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luster(s)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475903" y="2025718"/>
            <a:ext cx="1559935" cy="3011767"/>
            <a:chOff x="1072578" y="2055523"/>
            <a:chExt cx="2412222" cy="4248000"/>
          </a:xfrm>
        </p:grpSpPr>
        <p:sp>
          <p:nvSpPr>
            <p:cNvPr id="45" name="Rectangle 44"/>
            <p:cNvSpPr/>
            <p:nvPr/>
          </p:nvSpPr>
          <p:spPr>
            <a:xfrm>
              <a:off x="1180800" y="2055523"/>
              <a:ext cx="2304000" cy="4140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072578" y="2163523"/>
              <a:ext cx="2304000" cy="4140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Device(s)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6553085" y="2415683"/>
            <a:ext cx="1321105" cy="1374362"/>
            <a:chOff x="3485909" y="571516"/>
            <a:chExt cx="1554904" cy="1887841"/>
          </a:xfrm>
        </p:grpSpPr>
        <p:sp>
          <p:nvSpPr>
            <p:cNvPr id="43" name="Rectangle 42"/>
            <p:cNvSpPr/>
            <p:nvPr/>
          </p:nvSpPr>
          <p:spPr>
            <a:xfrm>
              <a:off x="3573578" y="571516"/>
              <a:ext cx="1467235" cy="1764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485909" y="695357"/>
              <a:ext cx="1448862" cy="1764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hannel(s):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Requested V.,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Actual Value,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Scaling?,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Unit?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Enable?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22676" y="2025718"/>
            <a:ext cx="1103689" cy="1453459"/>
            <a:chOff x="8126765" y="2025718"/>
            <a:chExt cx="1103689" cy="1453459"/>
          </a:xfrm>
        </p:grpSpPr>
        <p:sp>
          <p:nvSpPr>
            <p:cNvPr id="50" name="Rectangle 49"/>
            <p:cNvSpPr/>
            <p:nvPr/>
          </p:nvSpPr>
          <p:spPr>
            <a:xfrm>
              <a:off x="8126765" y="2025718"/>
              <a:ext cx="1103689" cy="14534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Initialization Procedur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219279" y="2424832"/>
              <a:ext cx="917750" cy="964261"/>
              <a:chOff x="8219279" y="2424832"/>
              <a:chExt cx="917750" cy="964261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8308045" y="2424832"/>
                <a:ext cx="828984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8219279" y="2507093"/>
                <a:ext cx="839778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Poll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alibrat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e..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33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de-DE" dirty="0" smtClean="0"/>
              <a:t>Handles communication with driver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Provides its own communication thread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Collects communication request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Handles communication with driver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Distributes answers to device classe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ssumes and ensures that all communication on the interface is handled sequentially.</a:t>
            </a:r>
          </a:p>
          <a:p>
            <a:r>
              <a:rPr lang="de-DE" dirty="0" smtClean="0"/>
              <a:t>Physical examples: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The I²C master on the bus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LAN connection to one IP address and port.</a:t>
            </a:r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de-DE" dirty="0" smtClean="0"/>
              <a:t>A VISA connection to a device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mponents of the VI Server – Master Interface</a:t>
            </a:r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smtClean="0"/>
              <a:t>The Virtual Instrument Server</a:t>
            </a:r>
            <a:endParaRPr lang="de-D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816AC5-77F1-4564-BB0F-A7B9ADB68784}" type="slidenum">
              <a:rPr lang="de-DE" smtClean="0"/>
              <a:t>9</a:t>
            </a:fld>
            <a:endParaRPr lang="de-D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smtClean="0"/>
              <a:t>23.05.2023</a:t>
            </a:r>
            <a:endParaRPr lang="de-DE"/>
          </a:p>
        </p:txBody>
      </p:sp>
      <p:grpSp>
        <p:nvGrpSpPr>
          <p:cNvPr id="32" name="Group 31"/>
          <p:cNvGrpSpPr/>
          <p:nvPr/>
        </p:nvGrpSpPr>
        <p:grpSpPr>
          <a:xfrm>
            <a:off x="6394099" y="1648853"/>
            <a:ext cx="3027311" cy="3459490"/>
            <a:chOff x="6677254" y="1648854"/>
            <a:chExt cx="3563061" cy="4752000"/>
          </a:xfrm>
        </p:grpSpPr>
        <p:sp>
          <p:nvSpPr>
            <p:cNvPr id="47" name="Rectangle 46"/>
            <p:cNvSpPr/>
            <p:nvPr/>
          </p:nvSpPr>
          <p:spPr>
            <a:xfrm>
              <a:off x="6784315" y="1648854"/>
              <a:ext cx="3456000" cy="4652236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6677254" y="1758910"/>
              <a:ext cx="3456000" cy="4641944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luster(s)</a:t>
              </a:r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6475903" y="2025718"/>
            <a:ext cx="1559935" cy="3011767"/>
            <a:chOff x="1072578" y="2055523"/>
            <a:chExt cx="2412222" cy="4248000"/>
          </a:xfrm>
        </p:grpSpPr>
        <p:sp>
          <p:nvSpPr>
            <p:cNvPr id="45" name="Rectangle 44"/>
            <p:cNvSpPr/>
            <p:nvPr/>
          </p:nvSpPr>
          <p:spPr>
            <a:xfrm>
              <a:off x="1180800" y="2055523"/>
              <a:ext cx="2304000" cy="4140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1072578" y="2163523"/>
              <a:ext cx="2304000" cy="4140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Device(s)</a:t>
              </a: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6553085" y="2415683"/>
            <a:ext cx="1321105" cy="1374362"/>
            <a:chOff x="3485909" y="571516"/>
            <a:chExt cx="1554904" cy="1887841"/>
          </a:xfrm>
        </p:grpSpPr>
        <p:sp>
          <p:nvSpPr>
            <p:cNvPr id="43" name="Rectangle 42"/>
            <p:cNvSpPr/>
            <p:nvPr/>
          </p:nvSpPr>
          <p:spPr>
            <a:xfrm>
              <a:off x="3573578" y="571516"/>
              <a:ext cx="1467235" cy="1764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endParaRPr lang="de-DE" sz="1100" b="1" dirty="0" smtClea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485909" y="695357"/>
              <a:ext cx="1448862" cy="1764000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hannel(s):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Requested V.,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Actual Value,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Scaling?,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Unit?</a:t>
              </a:r>
            </a:p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Enable?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384263" y="5204498"/>
            <a:ext cx="1655664" cy="1203502"/>
            <a:chOff x="3282397" y="4402268"/>
            <a:chExt cx="1948671" cy="1653146"/>
          </a:xfrm>
        </p:grpSpPr>
        <p:grpSp>
          <p:nvGrpSpPr>
            <p:cNvPr id="28" name="Group 27"/>
            <p:cNvGrpSpPr/>
            <p:nvPr/>
          </p:nvGrpSpPr>
          <p:grpSpPr>
            <a:xfrm>
              <a:off x="3282397" y="4402268"/>
              <a:ext cx="1948671" cy="1653146"/>
              <a:chOff x="3395068" y="4412318"/>
              <a:chExt cx="1960872" cy="1653146"/>
            </a:xfrm>
          </p:grpSpPr>
          <p:sp>
            <p:nvSpPr>
              <p:cNvPr id="30" name="Rectangle 29"/>
              <p:cNvSpPr/>
              <p:nvPr/>
            </p:nvSpPr>
            <p:spPr>
              <a:xfrm>
                <a:off x="3524588" y="4412318"/>
                <a:ext cx="1831352" cy="1544400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 smtClean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395068" y="4522373"/>
                <a:ext cx="1831352" cy="1543091"/>
              </a:xfrm>
              <a:prstGeom prst="rect">
                <a:avLst/>
              </a:prstGeom>
              <a:gradFill>
                <a:gsLst>
                  <a:gs pos="0">
                    <a:schemeClr val="tx2">
                      <a:lumMod val="75000"/>
                      <a:lumOff val="25000"/>
                    </a:schemeClr>
                  </a:gs>
                  <a:gs pos="50000">
                    <a:srgbClr val="00B4B0"/>
                  </a:gs>
                  <a:gs pos="100000">
                    <a:srgbClr val="00A6A2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1"/>
              </a:lnRef>
              <a:fillRef idx="3">
                <a:schemeClr val="accent1"/>
              </a:fillRef>
              <a:effectRef idx="3">
                <a:schemeClr val="accent1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Master Interface(s)</a:t>
                </a:r>
              </a:p>
            </p:txBody>
          </p:sp>
        </p:grpSp>
        <p:sp>
          <p:nvSpPr>
            <p:cNvPr id="29" name="Rectangle 28"/>
            <p:cNvSpPr/>
            <p:nvPr/>
          </p:nvSpPr>
          <p:spPr>
            <a:xfrm>
              <a:off x="3414922" y="5257940"/>
              <a:ext cx="1554905" cy="665394"/>
            </a:xfrm>
            <a:prstGeom prst="rect">
              <a:avLst/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50000">
                  <a:schemeClr val="tx2">
                    <a:lumMod val="25000"/>
                    <a:lumOff val="75000"/>
                  </a:schemeClr>
                </a:gs>
                <a:gs pos="100000">
                  <a:schemeClr val="accent1">
                    <a:lumMod val="40000"/>
                    <a:lumOff val="60000"/>
                  </a:schemeClr>
                </a:gs>
              </a:gsLst>
            </a:gradFill>
            <a:ln>
              <a:tailEnd type="triangle" w="lg" len="med"/>
            </a:ln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Communication Thread</a:t>
              </a:r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8122676" y="2025718"/>
            <a:ext cx="1103689" cy="1453459"/>
            <a:chOff x="8126765" y="2025718"/>
            <a:chExt cx="1103689" cy="1453459"/>
          </a:xfrm>
        </p:grpSpPr>
        <p:sp>
          <p:nvSpPr>
            <p:cNvPr id="50" name="Rectangle 49"/>
            <p:cNvSpPr/>
            <p:nvPr/>
          </p:nvSpPr>
          <p:spPr>
            <a:xfrm>
              <a:off x="8126765" y="2025718"/>
              <a:ext cx="1103689" cy="1453459"/>
            </a:xfrm>
            <a:prstGeom prst="rect">
              <a:avLst/>
            </a:prstGeom>
            <a:ln>
              <a:tailEnd type="triangle" w="lg" len="med"/>
            </a:ln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t" anchorCtr="1"/>
            <a:lstStyle/>
            <a:p>
              <a:pPr algn="ctr">
                <a:spcBef>
                  <a:spcPts val="200"/>
                </a:spcBef>
                <a:buClr>
                  <a:srgbClr val="116656"/>
                </a:buClr>
                <a:buSzPct val="120000"/>
              </a:pPr>
              <a:r>
                <a:rPr lang="de-DE" sz="1100" b="1" dirty="0" smtClean="0">
                  <a:solidFill>
                    <a:sysClr val="windowText" lastClr="000000"/>
                  </a:solidFill>
                </a:rPr>
                <a:t>Initialization Procedure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8219279" y="2424832"/>
              <a:ext cx="917750" cy="964261"/>
              <a:chOff x="8219279" y="2424832"/>
              <a:chExt cx="917750" cy="964261"/>
            </a:xfrm>
          </p:grpSpPr>
          <p:sp>
            <p:nvSpPr>
              <p:cNvPr id="52" name="Rectangle 51"/>
              <p:cNvSpPr/>
              <p:nvPr/>
            </p:nvSpPr>
            <p:spPr>
              <a:xfrm>
                <a:off x="8308045" y="2424832"/>
                <a:ext cx="828984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endParaRPr lang="de-DE" sz="1100" b="1" dirty="0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>
              <a:xfrm>
                <a:off x="8219279" y="2507093"/>
                <a:ext cx="839778" cy="882000"/>
              </a:xfrm>
              <a:prstGeom prst="rect">
                <a:avLst/>
              </a:prstGeom>
              <a:gradFill>
                <a:gsLst>
                  <a:gs pos="0">
                    <a:srgbClr val="B5C026"/>
                  </a:gs>
                  <a:gs pos="50000">
                    <a:srgbClr val="BBC71F"/>
                  </a:gs>
                  <a:gs pos="100000">
                    <a:srgbClr val="A4AE28"/>
                  </a:gs>
                </a:gsLst>
              </a:gradFill>
              <a:ln>
                <a:tailEnd type="triangle" w="lg" len="med"/>
              </a:ln>
            </p:spPr>
            <p:style>
              <a:lnRef idx="0">
                <a:schemeClr val="accent2"/>
              </a:lnRef>
              <a:fillRef idx="3">
                <a:schemeClr val="accent2"/>
              </a:fillRef>
              <a:effectRef idx="3">
                <a:schemeClr val="accent2"/>
              </a:effectRef>
              <a:fontRef idx="minor">
                <a:schemeClr val="lt1"/>
              </a:fontRef>
            </p:style>
            <p:txBody>
              <a:bodyPr wrap="square" lIns="72000" tIns="72000" rIns="72000" bIns="72000" rtlCol="0" anchor="t" anchorCtr="1"/>
              <a:lstStyle/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Steps: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Poll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Calibrate,</a:t>
                </a:r>
              </a:p>
              <a:p>
                <a:pPr algn="ctr">
                  <a:spcBef>
                    <a:spcPts val="200"/>
                  </a:spcBef>
                  <a:buClr>
                    <a:srgbClr val="116656"/>
                  </a:buClr>
                  <a:buSzPct val="120000"/>
                </a:pPr>
                <a:r>
                  <a:rPr lang="de-DE" sz="1100" b="1" dirty="0" smtClean="0">
                    <a:solidFill>
                      <a:sysClr val="windowText" lastClr="000000"/>
                    </a:solidFill>
                  </a:rPr>
                  <a:t>Initialize..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60958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3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3" id="{F1836691-20D3-4466-A161-24E48D535EFF}" vid="{B91289A7-3226-4860-9AE0-3BE59C442A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3</Template>
  <TotalTime>0</TotalTime>
  <Words>2000</Words>
  <Application>Microsoft Office PowerPoint</Application>
  <PresentationFormat>Widescreen</PresentationFormat>
  <Paragraphs>400</Paragraphs>
  <Slides>1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.SF NS Symbols Regular</vt:lpstr>
      <vt:lpstr>Arial</vt:lpstr>
      <vt:lpstr>Calibri</vt:lpstr>
      <vt:lpstr>Symbol</vt:lpstr>
      <vt:lpstr>Wingdings 3</vt:lpstr>
      <vt:lpstr>HLL-Master_en_v3</vt:lpstr>
      <vt:lpstr>think-cell Folie</vt:lpstr>
      <vt:lpstr>The Virtual Instrument Server</vt:lpstr>
      <vt:lpstr>Outline</vt:lpstr>
      <vt:lpstr>Intro to visrv – The Vision</vt:lpstr>
      <vt:lpstr>Intro to visrv – The Vision</vt:lpstr>
      <vt:lpstr>The Virtual Instrument Suite</vt:lpstr>
      <vt:lpstr>Components of the VI Server – Cluster</vt:lpstr>
      <vt:lpstr>Components of the VI Server – Device</vt:lpstr>
      <vt:lpstr>Components of the VI Server – Channel</vt:lpstr>
      <vt:lpstr>Components of the VI Server – Master Interface</vt:lpstr>
      <vt:lpstr>Components of the VI Server – Device Interface</vt:lpstr>
      <vt:lpstr>Components of the VI Server – Housekeeping cycle</vt:lpstr>
      <vt:lpstr>Components of the VI Server –Scheduler &amp; Blocker</vt:lpstr>
      <vt:lpstr>Components of the VI Server – Sequence &amp; Step</vt:lpstr>
      <vt:lpstr>Components of the VI Server – Conditions</vt:lpstr>
      <vt:lpstr>Components of the VI Server – It‘s Time to Create!</vt:lpstr>
      <vt:lpstr>Devices Supported by the VISrv – 50 and growing</vt:lpstr>
      <vt:lpstr>Short-comings and space for future improvements</vt:lpstr>
      <vt:lpstr>It‘s Time to wake up – yes, I am done for the moment</vt:lpstr>
    </vt:vector>
  </TitlesOfParts>
  <Company>MPG Semiconductor Laborator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Virtual Instrument Server</dc:title>
  <dc:subject>The Virtual Instrument Server</dc:subject>
  <dc:creator>Martin Hensel</dc:creator>
  <cp:lastModifiedBy>Martin Hensel</cp:lastModifiedBy>
  <cp:revision>87</cp:revision>
  <dcterms:created xsi:type="dcterms:W3CDTF">2023-05-17T08:30:09Z</dcterms:created>
  <dcterms:modified xsi:type="dcterms:W3CDTF">2023-05-23T09:28:13Z</dcterms:modified>
</cp:coreProperties>
</file>